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3.xml" ContentType="application/vnd.openxmlformats-officedocument.them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4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5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6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8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9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10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11.xml" ContentType="application/vnd.openxmlformats-officedocument.them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12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13.xml" ContentType="application/vnd.openxmlformats-officedocument.theme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14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15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16.xml" ContentType="application/vnd.openxmlformats-officedocument.theme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17.xml" ContentType="application/vnd.openxmlformats-officedocument.theme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18.xml" ContentType="application/vnd.openxmlformats-officedocument.theme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19.xml" ContentType="application/vnd.openxmlformats-officedocument.theme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20.xml" ContentType="application/vnd.openxmlformats-officedocument.theme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21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22.xml" ContentType="application/vnd.openxmlformats-officedocument.theme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23.xml" ContentType="application/vnd.openxmlformats-officedocument.theme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24.xml" ContentType="application/vnd.openxmlformats-officedocument.theme+xml"/>
  <Override PartName="/ppt/theme/theme2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07" r:id="rId1"/>
    <p:sldMasterId id="2147483715" r:id="rId2"/>
    <p:sldMasterId id="2147483681" r:id="rId3"/>
    <p:sldMasterId id="2147483719" r:id="rId4"/>
    <p:sldMasterId id="2147483689" r:id="rId5"/>
    <p:sldMasterId id="2147483722" r:id="rId6"/>
    <p:sldMasterId id="2147483726" r:id="rId7"/>
    <p:sldMasterId id="2147483753" r:id="rId8"/>
    <p:sldMasterId id="2147483770" r:id="rId9"/>
    <p:sldMasterId id="2147483786" r:id="rId10"/>
    <p:sldMasterId id="2147483815" r:id="rId11"/>
    <p:sldMasterId id="2147483830" r:id="rId12"/>
    <p:sldMasterId id="2147483846" r:id="rId13"/>
    <p:sldMasterId id="2147483861" r:id="rId14"/>
    <p:sldMasterId id="2147483864" r:id="rId15"/>
    <p:sldMasterId id="2147483870" r:id="rId16"/>
    <p:sldMasterId id="2147483873" r:id="rId17"/>
    <p:sldMasterId id="2147483877" r:id="rId18"/>
    <p:sldMasterId id="2147483880" r:id="rId19"/>
    <p:sldMasterId id="2147483896" r:id="rId20"/>
    <p:sldMasterId id="2147483900" r:id="rId21"/>
    <p:sldMasterId id="2147483903" r:id="rId22"/>
    <p:sldMasterId id="2147483907" r:id="rId23"/>
    <p:sldMasterId id="2147483911" r:id="rId24"/>
  </p:sldMasterIdLst>
  <p:notesMasterIdLst>
    <p:notesMasterId r:id="rId36"/>
  </p:notesMasterIdLst>
  <p:sldIdLst>
    <p:sldId id="273" r:id="rId25"/>
    <p:sldId id="272" r:id="rId26"/>
    <p:sldId id="274" r:id="rId27"/>
    <p:sldId id="278" r:id="rId28"/>
    <p:sldId id="277" r:id="rId29"/>
    <p:sldId id="275" r:id="rId30"/>
    <p:sldId id="276" r:id="rId31"/>
    <p:sldId id="266" r:id="rId32"/>
    <p:sldId id="279" r:id="rId33"/>
    <p:sldId id="269" r:id="rId34"/>
    <p:sldId id="270" r:id="rId35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32D4B"/>
    <a:srgbClr val="FFCCF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150" autoAdjust="0"/>
    <p:restoredTop sz="93979" autoAdjust="0"/>
  </p:normalViewPr>
  <p:slideViewPr>
    <p:cSldViewPr snapToGrid="0" snapToObjects="1">
      <p:cViewPr varScale="1">
        <p:scale>
          <a:sx n="89" d="100"/>
          <a:sy n="89" d="100"/>
        </p:scale>
        <p:origin x="1627" y="77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2.xml"/><Relationship Id="rId39" Type="http://schemas.openxmlformats.org/officeDocument/2006/relationships/theme" Target="theme/theme1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10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1.xml"/><Relationship Id="rId33" Type="http://schemas.openxmlformats.org/officeDocument/2006/relationships/slide" Target="slides/slide9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" Target="slides/slide5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" Target="slides/slide8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" Target="slides/slide4.xml"/><Relationship Id="rId36" Type="http://schemas.openxmlformats.org/officeDocument/2006/relationships/notesMaster" Target="notesMasters/notesMaster1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7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" Target="slides/slide3.xml"/><Relationship Id="rId30" Type="http://schemas.openxmlformats.org/officeDocument/2006/relationships/slide" Target="slides/slide6.xml"/><Relationship Id="rId35" Type="http://schemas.openxmlformats.org/officeDocument/2006/relationships/slide" Target="slides/slide11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C3C81-8EEC-8843-AB39-150263E7E2B8}" type="datetimeFigureOut">
              <a:rPr lang="en-US" smtClean="0"/>
              <a:t>8/31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9FB9D2-1CEF-F94D-AD0C-F147575117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34930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22.xml"/><Relationship Id="rId7" Type="http://schemas.openxmlformats.org/officeDocument/2006/relationships/slideMaster" Target="../slideMasters/slideMaster7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.vml"/><Relationship Id="rId6" Type="http://schemas.openxmlformats.org/officeDocument/2006/relationships/tags" Target="../tags/tag25.xml"/><Relationship Id="rId11" Type="http://schemas.openxmlformats.org/officeDocument/2006/relationships/image" Target="../media/image4.png"/><Relationship Id="rId5" Type="http://schemas.openxmlformats.org/officeDocument/2006/relationships/tags" Target="../tags/tag24.xml"/><Relationship Id="rId10" Type="http://schemas.openxmlformats.org/officeDocument/2006/relationships/image" Target="../media/image1.png"/><Relationship Id="rId4" Type="http://schemas.openxmlformats.org/officeDocument/2006/relationships/tags" Target="../tags/tag23.xml"/><Relationship Id="rId9" Type="http://schemas.openxmlformats.org/officeDocument/2006/relationships/image" Target="../media/image5.emf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3.v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10" Type="http://schemas.openxmlformats.org/officeDocument/2006/relationships/image" Target="../media/image3.emf"/><Relationship Id="rId4" Type="http://schemas.openxmlformats.org/officeDocument/2006/relationships/tags" Target="../tags/tag28.xml"/><Relationship Id="rId9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33.xml"/><Relationship Id="rId7" Type="http://schemas.openxmlformats.org/officeDocument/2006/relationships/slideMaster" Target="../slideMasters/slideMaster7.xml"/><Relationship Id="rId2" Type="http://schemas.openxmlformats.org/officeDocument/2006/relationships/tags" Target="../tags/tag32.xml"/><Relationship Id="rId1" Type="http://schemas.openxmlformats.org/officeDocument/2006/relationships/vmlDrawing" Target="../drawings/vmlDrawing4.v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4" Type="http://schemas.openxmlformats.org/officeDocument/2006/relationships/tags" Target="../tags/tag34.xml"/><Relationship Id="rId9" Type="http://schemas.openxmlformats.org/officeDocument/2006/relationships/image" Target="../media/image5.emf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38.xml"/><Relationship Id="rId7" Type="http://schemas.openxmlformats.org/officeDocument/2006/relationships/slideMaster" Target="../slideMasters/slideMaster7.xml"/><Relationship Id="rId2" Type="http://schemas.openxmlformats.org/officeDocument/2006/relationships/tags" Target="../tags/tag37.xml"/><Relationship Id="rId1" Type="http://schemas.openxmlformats.org/officeDocument/2006/relationships/vmlDrawing" Target="../drawings/vmlDrawing5.vml"/><Relationship Id="rId6" Type="http://schemas.openxmlformats.org/officeDocument/2006/relationships/tags" Target="../tags/tag41.xml"/><Relationship Id="rId5" Type="http://schemas.openxmlformats.org/officeDocument/2006/relationships/tags" Target="../tags/tag40.xml"/><Relationship Id="rId4" Type="http://schemas.openxmlformats.org/officeDocument/2006/relationships/tags" Target="../tags/tag39.xml"/><Relationship Id="rId9" Type="http://schemas.openxmlformats.org/officeDocument/2006/relationships/image" Target="../media/image5.emf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43.xml"/><Relationship Id="rId7" Type="http://schemas.openxmlformats.org/officeDocument/2006/relationships/slideMaster" Target="../slideMasters/slideMaster7.xml"/><Relationship Id="rId2" Type="http://schemas.openxmlformats.org/officeDocument/2006/relationships/tags" Target="../tags/tag42.xml"/><Relationship Id="rId1" Type="http://schemas.openxmlformats.org/officeDocument/2006/relationships/vmlDrawing" Target="../drawings/vmlDrawing6.vml"/><Relationship Id="rId6" Type="http://schemas.openxmlformats.org/officeDocument/2006/relationships/tags" Target="../tags/tag46.xml"/><Relationship Id="rId5" Type="http://schemas.openxmlformats.org/officeDocument/2006/relationships/tags" Target="../tags/tag45.xml"/><Relationship Id="rId4" Type="http://schemas.openxmlformats.org/officeDocument/2006/relationships/tags" Target="../tags/tag44.xml"/><Relationship Id="rId9" Type="http://schemas.openxmlformats.org/officeDocument/2006/relationships/image" Target="../media/image5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7.v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10" Type="http://schemas.openxmlformats.org/officeDocument/2006/relationships/image" Target="../media/image5.emf"/><Relationship Id="rId4" Type="http://schemas.openxmlformats.org/officeDocument/2006/relationships/tags" Target="../tags/tag49.xml"/><Relationship Id="rId9" Type="http://schemas.openxmlformats.org/officeDocument/2006/relationships/oleObject" Target="../embeddings/oleObject7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13" Type="http://schemas.openxmlformats.org/officeDocument/2006/relationships/image" Target="../media/image6.png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12" Type="http://schemas.openxmlformats.org/officeDocument/2006/relationships/image" Target="../media/image1.png"/><Relationship Id="rId2" Type="http://schemas.openxmlformats.org/officeDocument/2006/relationships/tags" Target="../tags/tag53.xml"/><Relationship Id="rId1" Type="http://schemas.openxmlformats.org/officeDocument/2006/relationships/vmlDrawing" Target="../drawings/vmlDrawing8.vml"/><Relationship Id="rId6" Type="http://schemas.openxmlformats.org/officeDocument/2006/relationships/tags" Target="../tags/tag57.xml"/><Relationship Id="rId11" Type="http://schemas.openxmlformats.org/officeDocument/2006/relationships/image" Target="../media/image3.emf"/><Relationship Id="rId5" Type="http://schemas.openxmlformats.org/officeDocument/2006/relationships/tags" Target="../tags/tag56.xml"/><Relationship Id="rId15" Type="http://schemas.openxmlformats.org/officeDocument/2006/relationships/image" Target="../media/image4.png"/><Relationship Id="rId10" Type="http://schemas.openxmlformats.org/officeDocument/2006/relationships/oleObject" Target="../embeddings/oleObject8.bin"/><Relationship Id="rId4" Type="http://schemas.openxmlformats.org/officeDocument/2006/relationships/tags" Target="../tags/tag55.xml"/><Relationship Id="rId9" Type="http://schemas.openxmlformats.org/officeDocument/2006/relationships/slideMaster" Target="../slideMasters/slideMaster7.xml"/><Relationship Id="rId14" Type="http://schemas.microsoft.com/office/2007/relationships/hdphoto" Target="../media/hdphoto1.wdp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13" Type="http://schemas.openxmlformats.org/officeDocument/2006/relationships/image" Target="../media/image6.png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12" Type="http://schemas.openxmlformats.org/officeDocument/2006/relationships/image" Target="../media/image1.png"/><Relationship Id="rId2" Type="http://schemas.openxmlformats.org/officeDocument/2006/relationships/tags" Target="../tags/tag60.xml"/><Relationship Id="rId1" Type="http://schemas.openxmlformats.org/officeDocument/2006/relationships/vmlDrawing" Target="../drawings/vmlDrawing9.vml"/><Relationship Id="rId6" Type="http://schemas.openxmlformats.org/officeDocument/2006/relationships/tags" Target="../tags/tag64.xml"/><Relationship Id="rId11" Type="http://schemas.openxmlformats.org/officeDocument/2006/relationships/image" Target="../media/image3.emf"/><Relationship Id="rId5" Type="http://schemas.openxmlformats.org/officeDocument/2006/relationships/tags" Target="../tags/tag63.xml"/><Relationship Id="rId15" Type="http://schemas.openxmlformats.org/officeDocument/2006/relationships/image" Target="../media/image4.png"/><Relationship Id="rId10" Type="http://schemas.openxmlformats.org/officeDocument/2006/relationships/oleObject" Target="../embeddings/oleObject9.bin"/><Relationship Id="rId4" Type="http://schemas.openxmlformats.org/officeDocument/2006/relationships/tags" Target="../tags/tag62.xml"/><Relationship Id="rId9" Type="http://schemas.openxmlformats.org/officeDocument/2006/relationships/slideMaster" Target="../slideMasters/slideMaster7.xml"/><Relationship Id="rId14" Type="http://schemas.microsoft.com/office/2007/relationships/hdphoto" Target="../media/hdphoto1.wdp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13" Type="http://schemas.openxmlformats.org/officeDocument/2006/relationships/image" Target="../media/image6.png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12" Type="http://schemas.openxmlformats.org/officeDocument/2006/relationships/image" Target="../media/image1.png"/><Relationship Id="rId2" Type="http://schemas.openxmlformats.org/officeDocument/2006/relationships/tags" Target="../tags/tag67.xml"/><Relationship Id="rId1" Type="http://schemas.openxmlformats.org/officeDocument/2006/relationships/vmlDrawing" Target="../drawings/vmlDrawing10.vml"/><Relationship Id="rId6" Type="http://schemas.openxmlformats.org/officeDocument/2006/relationships/tags" Target="../tags/tag71.xml"/><Relationship Id="rId11" Type="http://schemas.openxmlformats.org/officeDocument/2006/relationships/image" Target="../media/image3.emf"/><Relationship Id="rId5" Type="http://schemas.openxmlformats.org/officeDocument/2006/relationships/tags" Target="../tags/tag70.xml"/><Relationship Id="rId15" Type="http://schemas.openxmlformats.org/officeDocument/2006/relationships/image" Target="../media/image4.png"/><Relationship Id="rId10" Type="http://schemas.openxmlformats.org/officeDocument/2006/relationships/oleObject" Target="../embeddings/oleObject10.bin"/><Relationship Id="rId4" Type="http://schemas.openxmlformats.org/officeDocument/2006/relationships/tags" Target="../tags/tag69.xml"/><Relationship Id="rId9" Type="http://schemas.openxmlformats.org/officeDocument/2006/relationships/slideMaster" Target="../slideMasters/slideMaster7.xml"/><Relationship Id="rId14" Type="http://schemas.microsoft.com/office/2007/relationships/hdphoto" Target="../media/hdphoto1.wdp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image" Target="../media/image6.png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image" Target="../media/image1.png"/><Relationship Id="rId2" Type="http://schemas.openxmlformats.org/officeDocument/2006/relationships/tags" Target="../tags/tag74.xml"/><Relationship Id="rId1" Type="http://schemas.openxmlformats.org/officeDocument/2006/relationships/vmlDrawing" Target="../drawings/vmlDrawing11.vml"/><Relationship Id="rId6" Type="http://schemas.openxmlformats.org/officeDocument/2006/relationships/tags" Target="../tags/tag78.xml"/><Relationship Id="rId11" Type="http://schemas.openxmlformats.org/officeDocument/2006/relationships/image" Target="../media/image7.emf"/><Relationship Id="rId5" Type="http://schemas.openxmlformats.org/officeDocument/2006/relationships/tags" Target="../tags/tag77.xml"/><Relationship Id="rId15" Type="http://schemas.openxmlformats.org/officeDocument/2006/relationships/image" Target="../media/image4.png"/><Relationship Id="rId10" Type="http://schemas.openxmlformats.org/officeDocument/2006/relationships/oleObject" Target="../embeddings/oleObject11.bin"/><Relationship Id="rId4" Type="http://schemas.openxmlformats.org/officeDocument/2006/relationships/tags" Target="../tags/tag76.xml"/><Relationship Id="rId9" Type="http://schemas.openxmlformats.org/officeDocument/2006/relationships/slideMaster" Target="../slideMasters/slideMaster7.xml"/><Relationship Id="rId14" Type="http://schemas.microsoft.com/office/2007/relationships/hdphoto" Target="../media/hdphoto1.wdp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87.xml"/><Relationship Id="rId13" Type="http://schemas.openxmlformats.org/officeDocument/2006/relationships/image" Target="../media/image6.png"/><Relationship Id="rId3" Type="http://schemas.openxmlformats.org/officeDocument/2006/relationships/tags" Target="../tags/tag82.xml"/><Relationship Id="rId7" Type="http://schemas.openxmlformats.org/officeDocument/2006/relationships/tags" Target="../tags/tag86.xml"/><Relationship Id="rId12" Type="http://schemas.openxmlformats.org/officeDocument/2006/relationships/image" Target="../media/image1.png"/><Relationship Id="rId2" Type="http://schemas.openxmlformats.org/officeDocument/2006/relationships/tags" Target="../tags/tag81.xml"/><Relationship Id="rId1" Type="http://schemas.openxmlformats.org/officeDocument/2006/relationships/vmlDrawing" Target="../drawings/vmlDrawing12.vml"/><Relationship Id="rId6" Type="http://schemas.openxmlformats.org/officeDocument/2006/relationships/tags" Target="../tags/tag85.xml"/><Relationship Id="rId11" Type="http://schemas.openxmlformats.org/officeDocument/2006/relationships/image" Target="../media/image3.emf"/><Relationship Id="rId5" Type="http://schemas.openxmlformats.org/officeDocument/2006/relationships/tags" Target="../tags/tag84.xml"/><Relationship Id="rId15" Type="http://schemas.openxmlformats.org/officeDocument/2006/relationships/image" Target="../media/image4.png"/><Relationship Id="rId10" Type="http://schemas.openxmlformats.org/officeDocument/2006/relationships/oleObject" Target="../embeddings/oleObject12.bin"/><Relationship Id="rId4" Type="http://schemas.openxmlformats.org/officeDocument/2006/relationships/tags" Target="../tags/tag83.xml"/><Relationship Id="rId9" Type="http://schemas.openxmlformats.org/officeDocument/2006/relationships/slideMaster" Target="../slideMasters/slideMaster7.xml"/><Relationship Id="rId14" Type="http://schemas.microsoft.com/office/2007/relationships/hdphoto" Target="../media/hdphoto1.wdp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tags" Target="../tags/tag89.xml"/><Relationship Id="rId7" Type="http://schemas.openxmlformats.org/officeDocument/2006/relationships/slideMaster" Target="../slideMasters/slideMaster7.xml"/><Relationship Id="rId2" Type="http://schemas.openxmlformats.org/officeDocument/2006/relationships/tags" Target="../tags/tag88.xml"/><Relationship Id="rId1" Type="http://schemas.openxmlformats.org/officeDocument/2006/relationships/vmlDrawing" Target="../drawings/vmlDrawing13.vml"/><Relationship Id="rId6" Type="http://schemas.openxmlformats.org/officeDocument/2006/relationships/tags" Target="../tags/tag92.xml"/><Relationship Id="rId11" Type="http://schemas.openxmlformats.org/officeDocument/2006/relationships/image" Target="../media/image4.png"/><Relationship Id="rId5" Type="http://schemas.openxmlformats.org/officeDocument/2006/relationships/tags" Target="../tags/tag91.xml"/><Relationship Id="rId10" Type="http://schemas.openxmlformats.org/officeDocument/2006/relationships/image" Target="../media/image1.png"/><Relationship Id="rId4" Type="http://schemas.openxmlformats.org/officeDocument/2006/relationships/tags" Target="../tags/tag90.xml"/><Relationship Id="rId9" Type="http://schemas.openxmlformats.org/officeDocument/2006/relationships/image" Target="../media/image5.emf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94.xml"/><Relationship Id="rId7" Type="http://schemas.openxmlformats.org/officeDocument/2006/relationships/image" Target="../media/image5.emf"/><Relationship Id="rId2" Type="http://schemas.openxmlformats.org/officeDocument/2006/relationships/tags" Target="../tags/tag93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7.xml"/><Relationship Id="rId4" Type="http://schemas.openxmlformats.org/officeDocument/2006/relationships/tags" Target="../tags/tag95.xml"/><Relationship Id="rId9" Type="http://schemas.openxmlformats.org/officeDocument/2006/relationships/image" Target="../media/image4.png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97.xml"/><Relationship Id="rId7" Type="http://schemas.openxmlformats.org/officeDocument/2006/relationships/image" Target="../media/image1.png"/><Relationship Id="rId2" Type="http://schemas.openxmlformats.org/officeDocument/2006/relationships/tags" Target="../tags/tag9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7.xml"/><Relationship Id="rId9" Type="http://schemas.microsoft.com/office/2007/relationships/hdphoto" Target="../media/hdphoto1.wdp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tags" Target="../tags/tag119.xml"/><Relationship Id="rId7" Type="http://schemas.openxmlformats.org/officeDocument/2006/relationships/slideMaster" Target="../slideMasters/slideMaster11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22.xml"/><Relationship Id="rId11" Type="http://schemas.openxmlformats.org/officeDocument/2006/relationships/image" Target="../media/image4.png"/><Relationship Id="rId5" Type="http://schemas.openxmlformats.org/officeDocument/2006/relationships/tags" Target="../tags/tag121.xml"/><Relationship Id="rId10" Type="http://schemas.openxmlformats.org/officeDocument/2006/relationships/image" Target="../media/image1.png"/><Relationship Id="rId4" Type="http://schemas.openxmlformats.org/officeDocument/2006/relationships/tags" Target="../tags/tag120.xml"/><Relationship Id="rId9" Type="http://schemas.openxmlformats.org/officeDocument/2006/relationships/image" Target="../media/image5.emf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1.xml"/><Relationship Id="rId3" Type="http://schemas.openxmlformats.org/officeDocument/2006/relationships/tags" Target="../tags/tag124.xml"/><Relationship Id="rId7" Type="http://schemas.openxmlformats.org/officeDocument/2006/relationships/tags" Target="../tags/tag128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27.xml"/><Relationship Id="rId5" Type="http://schemas.openxmlformats.org/officeDocument/2006/relationships/tags" Target="../tags/tag126.xml"/><Relationship Id="rId10" Type="http://schemas.openxmlformats.org/officeDocument/2006/relationships/image" Target="../media/image3.emf"/><Relationship Id="rId4" Type="http://schemas.openxmlformats.org/officeDocument/2006/relationships/tags" Target="../tags/tag125.xml"/><Relationship Id="rId9" Type="http://schemas.openxmlformats.org/officeDocument/2006/relationships/oleObject" Target="../embeddings/oleObject18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.bin"/><Relationship Id="rId3" Type="http://schemas.openxmlformats.org/officeDocument/2006/relationships/tags" Target="../tags/tag130.xml"/><Relationship Id="rId7" Type="http://schemas.openxmlformats.org/officeDocument/2006/relationships/slideMaster" Target="../slideMasters/slideMaster11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33.xml"/><Relationship Id="rId5" Type="http://schemas.openxmlformats.org/officeDocument/2006/relationships/tags" Target="../tags/tag132.xml"/><Relationship Id="rId4" Type="http://schemas.openxmlformats.org/officeDocument/2006/relationships/tags" Target="../tags/tag131.xml"/><Relationship Id="rId9" Type="http://schemas.openxmlformats.org/officeDocument/2006/relationships/image" Target="../media/image5.emf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135.xml"/><Relationship Id="rId7" Type="http://schemas.openxmlformats.org/officeDocument/2006/relationships/slideMaster" Target="../slideMasters/slideMaster11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38.xml"/><Relationship Id="rId5" Type="http://schemas.openxmlformats.org/officeDocument/2006/relationships/tags" Target="../tags/tag137.xml"/><Relationship Id="rId4" Type="http://schemas.openxmlformats.org/officeDocument/2006/relationships/tags" Target="../tags/tag136.xml"/><Relationship Id="rId9" Type="http://schemas.openxmlformats.org/officeDocument/2006/relationships/image" Target="../media/image5.emf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.bin"/><Relationship Id="rId3" Type="http://schemas.openxmlformats.org/officeDocument/2006/relationships/tags" Target="../tags/tag140.xml"/><Relationship Id="rId7" Type="http://schemas.openxmlformats.org/officeDocument/2006/relationships/slideMaster" Target="../slideMasters/slideMaster11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21.vml"/><Relationship Id="rId6" Type="http://schemas.openxmlformats.org/officeDocument/2006/relationships/tags" Target="../tags/tag143.xml"/><Relationship Id="rId5" Type="http://schemas.openxmlformats.org/officeDocument/2006/relationships/tags" Target="../tags/tag142.xml"/><Relationship Id="rId4" Type="http://schemas.openxmlformats.org/officeDocument/2006/relationships/tags" Target="../tags/tag141.xml"/><Relationship Id="rId9" Type="http://schemas.openxmlformats.org/officeDocument/2006/relationships/image" Target="../media/image5.emf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1.xml"/><Relationship Id="rId3" Type="http://schemas.openxmlformats.org/officeDocument/2006/relationships/tags" Target="../tags/tag145.xml"/><Relationship Id="rId7" Type="http://schemas.openxmlformats.org/officeDocument/2006/relationships/tags" Target="../tags/tag149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22.vml"/><Relationship Id="rId6" Type="http://schemas.openxmlformats.org/officeDocument/2006/relationships/tags" Target="../tags/tag148.xml"/><Relationship Id="rId5" Type="http://schemas.openxmlformats.org/officeDocument/2006/relationships/tags" Target="../tags/tag147.xml"/><Relationship Id="rId10" Type="http://schemas.openxmlformats.org/officeDocument/2006/relationships/image" Target="../media/image5.emf"/><Relationship Id="rId4" Type="http://schemas.openxmlformats.org/officeDocument/2006/relationships/tags" Target="../tags/tag146.xml"/><Relationship Id="rId9" Type="http://schemas.openxmlformats.org/officeDocument/2006/relationships/oleObject" Target="../embeddings/oleObject22.bin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tags" Target="../tags/tag156.xml"/><Relationship Id="rId13" Type="http://schemas.openxmlformats.org/officeDocument/2006/relationships/image" Target="../media/image6.png"/><Relationship Id="rId3" Type="http://schemas.openxmlformats.org/officeDocument/2006/relationships/tags" Target="../tags/tag151.xml"/><Relationship Id="rId7" Type="http://schemas.openxmlformats.org/officeDocument/2006/relationships/tags" Target="../tags/tag155.xml"/><Relationship Id="rId12" Type="http://schemas.openxmlformats.org/officeDocument/2006/relationships/image" Target="../media/image1.png"/><Relationship Id="rId2" Type="http://schemas.openxmlformats.org/officeDocument/2006/relationships/tags" Target="../tags/tag150.xml"/><Relationship Id="rId1" Type="http://schemas.openxmlformats.org/officeDocument/2006/relationships/vmlDrawing" Target="../drawings/vmlDrawing23.vml"/><Relationship Id="rId6" Type="http://schemas.openxmlformats.org/officeDocument/2006/relationships/tags" Target="../tags/tag154.xml"/><Relationship Id="rId11" Type="http://schemas.openxmlformats.org/officeDocument/2006/relationships/image" Target="../media/image3.emf"/><Relationship Id="rId5" Type="http://schemas.openxmlformats.org/officeDocument/2006/relationships/tags" Target="../tags/tag153.xml"/><Relationship Id="rId10" Type="http://schemas.openxmlformats.org/officeDocument/2006/relationships/oleObject" Target="../embeddings/oleObject23.bin"/><Relationship Id="rId4" Type="http://schemas.openxmlformats.org/officeDocument/2006/relationships/tags" Target="../tags/tag152.xml"/><Relationship Id="rId9" Type="http://schemas.openxmlformats.org/officeDocument/2006/relationships/slideMaster" Target="../slideMasters/slideMaster11.xml"/><Relationship Id="rId14" Type="http://schemas.openxmlformats.org/officeDocument/2006/relationships/image" Target="../media/image4.png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tags" Target="../tags/tag163.xml"/><Relationship Id="rId13" Type="http://schemas.openxmlformats.org/officeDocument/2006/relationships/image" Target="../media/image6.png"/><Relationship Id="rId3" Type="http://schemas.openxmlformats.org/officeDocument/2006/relationships/tags" Target="../tags/tag158.xml"/><Relationship Id="rId7" Type="http://schemas.openxmlformats.org/officeDocument/2006/relationships/tags" Target="../tags/tag162.xml"/><Relationship Id="rId12" Type="http://schemas.openxmlformats.org/officeDocument/2006/relationships/image" Target="../media/image1.png"/><Relationship Id="rId2" Type="http://schemas.openxmlformats.org/officeDocument/2006/relationships/tags" Target="../tags/tag157.xml"/><Relationship Id="rId1" Type="http://schemas.openxmlformats.org/officeDocument/2006/relationships/vmlDrawing" Target="../drawings/vmlDrawing24.vml"/><Relationship Id="rId6" Type="http://schemas.openxmlformats.org/officeDocument/2006/relationships/tags" Target="../tags/tag161.xml"/><Relationship Id="rId11" Type="http://schemas.openxmlformats.org/officeDocument/2006/relationships/image" Target="../media/image3.emf"/><Relationship Id="rId5" Type="http://schemas.openxmlformats.org/officeDocument/2006/relationships/tags" Target="../tags/tag160.xml"/><Relationship Id="rId10" Type="http://schemas.openxmlformats.org/officeDocument/2006/relationships/oleObject" Target="../embeddings/oleObject24.bin"/><Relationship Id="rId4" Type="http://schemas.openxmlformats.org/officeDocument/2006/relationships/tags" Target="../tags/tag159.xml"/><Relationship Id="rId9" Type="http://schemas.openxmlformats.org/officeDocument/2006/relationships/slideMaster" Target="../slideMasters/slideMaster11.xml"/><Relationship Id="rId14" Type="http://schemas.openxmlformats.org/officeDocument/2006/relationships/image" Target="../media/image4.png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tags" Target="../tags/tag170.xml"/><Relationship Id="rId13" Type="http://schemas.openxmlformats.org/officeDocument/2006/relationships/image" Target="../media/image6.png"/><Relationship Id="rId3" Type="http://schemas.openxmlformats.org/officeDocument/2006/relationships/tags" Target="../tags/tag165.xml"/><Relationship Id="rId7" Type="http://schemas.openxmlformats.org/officeDocument/2006/relationships/tags" Target="../tags/tag169.xml"/><Relationship Id="rId12" Type="http://schemas.openxmlformats.org/officeDocument/2006/relationships/image" Target="../media/image1.png"/><Relationship Id="rId2" Type="http://schemas.openxmlformats.org/officeDocument/2006/relationships/tags" Target="../tags/tag164.xml"/><Relationship Id="rId1" Type="http://schemas.openxmlformats.org/officeDocument/2006/relationships/vmlDrawing" Target="../drawings/vmlDrawing25.vml"/><Relationship Id="rId6" Type="http://schemas.openxmlformats.org/officeDocument/2006/relationships/tags" Target="../tags/tag168.xml"/><Relationship Id="rId11" Type="http://schemas.openxmlformats.org/officeDocument/2006/relationships/image" Target="../media/image3.emf"/><Relationship Id="rId5" Type="http://schemas.openxmlformats.org/officeDocument/2006/relationships/tags" Target="../tags/tag167.xml"/><Relationship Id="rId10" Type="http://schemas.openxmlformats.org/officeDocument/2006/relationships/oleObject" Target="../embeddings/oleObject25.bin"/><Relationship Id="rId4" Type="http://schemas.openxmlformats.org/officeDocument/2006/relationships/tags" Target="../tags/tag166.xml"/><Relationship Id="rId9" Type="http://schemas.openxmlformats.org/officeDocument/2006/relationships/slideMaster" Target="../slideMasters/slideMaster11.xml"/><Relationship Id="rId14" Type="http://schemas.openxmlformats.org/officeDocument/2006/relationships/image" Target="../media/image4.png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tags" Target="../tags/tag177.xml"/><Relationship Id="rId13" Type="http://schemas.openxmlformats.org/officeDocument/2006/relationships/image" Target="../media/image6.png"/><Relationship Id="rId3" Type="http://schemas.openxmlformats.org/officeDocument/2006/relationships/tags" Target="../tags/tag172.xml"/><Relationship Id="rId7" Type="http://schemas.openxmlformats.org/officeDocument/2006/relationships/tags" Target="../tags/tag176.xml"/><Relationship Id="rId12" Type="http://schemas.openxmlformats.org/officeDocument/2006/relationships/image" Target="../media/image1.png"/><Relationship Id="rId2" Type="http://schemas.openxmlformats.org/officeDocument/2006/relationships/tags" Target="../tags/tag171.xml"/><Relationship Id="rId1" Type="http://schemas.openxmlformats.org/officeDocument/2006/relationships/vmlDrawing" Target="../drawings/vmlDrawing26.vml"/><Relationship Id="rId6" Type="http://schemas.openxmlformats.org/officeDocument/2006/relationships/tags" Target="../tags/tag175.xml"/><Relationship Id="rId11" Type="http://schemas.openxmlformats.org/officeDocument/2006/relationships/image" Target="../media/image7.emf"/><Relationship Id="rId5" Type="http://schemas.openxmlformats.org/officeDocument/2006/relationships/tags" Target="../tags/tag174.xml"/><Relationship Id="rId10" Type="http://schemas.openxmlformats.org/officeDocument/2006/relationships/oleObject" Target="../embeddings/oleObject26.bin"/><Relationship Id="rId4" Type="http://schemas.openxmlformats.org/officeDocument/2006/relationships/tags" Target="../tags/tag173.xml"/><Relationship Id="rId9" Type="http://schemas.openxmlformats.org/officeDocument/2006/relationships/slideMaster" Target="../slideMasters/slideMaster11.xml"/><Relationship Id="rId14" Type="http://schemas.openxmlformats.org/officeDocument/2006/relationships/image" Target="../media/image4.png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tags" Target="../tags/tag184.xml"/><Relationship Id="rId13" Type="http://schemas.openxmlformats.org/officeDocument/2006/relationships/image" Target="../media/image6.png"/><Relationship Id="rId3" Type="http://schemas.openxmlformats.org/officeDocument/2006/relationships/tags" Target="../tags/tag179.xml"/><Relationship Id="rId7" Type="http://schemas.openxmlformats.org/officeDocument/2006/relationships/tags" Target="../tags/tag183.xml"/><Relationship Id="rId12" Type="http://schemas.openxmlformats.org/officeDocument/2006/relationships/image" Target="../media/image1.png"/><Relationship Id="rId2" Type="http://schemas.openxmlformats.org/officeDocument/2006/relationships/tags" Target="../tags/tag178.xml"/><Relationship Id="rId1" Type="http://schemas.openxmlformats.org/officeDocument/2006/relationships/vmlDrawing" Target="../drawings/vmlDrawing27.vml"/><Relationship Id="rId6" Type="http://schemas.openxmlformats.org/officeDocument/2006/relationships/tags" Target="../tags/tag182.xml"/><Relationship Id="rId11" Type="http://schemas.openxmlformats.org/officeDocument/2006/relationships/image" Target="../media/image3.emf"/><Relationship Id="rId5" Type="http://schemas.openxmlformats.org/officeDocument/2006/relationships/tags" Target="../tags/tag181.xml"/><Relationship Id="rId10" Type="http://schemas.openxmlformats.org/officeDocument/2006/relationships/oleObject" Target="../embeddings/oleObject27.bin"/><Relationship Id="rId4" Type="http://schemas.openxmlformats.org/officeDocument/2006/relationships/tags" Target="../tags/tag180.xml"/><Relationship Id="rId9" Type="http://schemas.openxmlformats.org/officeDocument/2006/relationships/slideMaster" Target="../slideMasters/slideMaster11.xml"/><Relationship Id="rId14" Type="http://schemas.openxmlformats.org/officeDocument/2006/relationships/image" Target="../media/image4.png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8.bin"/><Relationship Id="rId3" Type="http://schemas.openxmlformats.org/officeDocument/2006/relationships/tags" Target="../tags/tag186.xml"/><Relationship Id="rId7" Type="http://schemas.openxmlformats.org/officeDocument/2006/relationships/slideMaster" Target="../slideMasters/slideMaster11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28.vml"/><Relationship Id="rId6" Type="http://schemas.openxmlformats.org/officeDocument/2006/relationships/tags" Target="../tags/tag189.xml"/><Relationship Id="rId11" Type="http://schemas.openxmlformats.org/officeDocument/2006/relationships/image" Target="../media/image4.png"/><Relationship Id="rId5" Type="http://schemas.openxmlformats.org/officeDocument/2006/relationships/tags" Target="../tags/tag188.xml"/><Relationship Id="rId10" Type="http://schemas.openxmlformats.org/officeDocument/2006/relationships/image" Target="../media/image1.png"/><Relationship Id="rId4" Type="http://schemas.openxmlformats.org/officeDocument/2006/relationships/tags" Target="../tags/tag187.xml"/><Relationship Id="rId9" Type="http://schemas.openxmlformats.org/officeDocument/2006/relationships/image" Target="../media/image5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191.xml"/><Relationship Id="rId7" Type="http://schemas.openxmlformats.org/officeDocument/2006/relationships/image" Target="../media/image5.emf"/><Relationship Id="rId2" Type="http://schemas.openxmlformats.org/officeDocument/2006/relationships/tags" Target="../tags/tag190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9.bin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192.xml"/><Relationship Id="rId9" Type="http://schemas.openxmlformats.org/officeDocument/2006/relationships/image" Target="../media/image4.png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94.xml"/><Relationship Id="rId7" Type="http://schemas.openxmlformats.org/officeDocument/2006/relationships/image" Target="../media/image1.png"/><Relationship Id="rId2" Type="http://schemas.openxmlformats.org/officeDocument/2006/relationships/tags" Target="../tags/tag193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1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2.bin"/><Relationship Id="rId3" Type="http://schemas.openxmlformats.org/officeDocument/2006/relationships/tags" Target="../tags/tag216.xml"/><Relationship Id="rId7" Type="http://schemas.openxmlformats.org/officeDocument/2006/relationships/slideMaster" Target="../slideMasters/slideMaster13.xml"/><Relationship Id="rId2" Type="http://schemas.openxmlformats.org/officeDocument/2006/relationships/tags" Target="../tags/tag215.xml"/><Relationship Id="rId1" Type="http://schemas.openxmlformats.org/officeDocument/2006/relationships/vmlDrawing" Target="../drawings/vmlDrawing32.vml"/><Relationship Id="rId6" Type="http://schemas.openxmlformats.org/officeDocument/2006/relationships/tags" Target="../tags/tag219.xml"/><Relationship Id="rId5" Type="http://schemas.openxmlformats.org/officeDocument/2006/relationships/tags" Target="../tags/tag218.xml"/><Relationship Id="rId10" Type="http://schemas.openxmlformats.org/officeDocument/2006/relationships/image" Target="../media/image1.png"/><Relationship Id="rId4" Type="http://schemas.openxmlformats.org/officeDocument/2006/relationships/tags" Target="../tags/tag217.xml"/><Relationship Id="rId9" Type="http://schemas.openxmlformats.org/officeDocument/2006/relationships/image" Target="../media/image5.emf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tags" Target="../tags/tag226.xml"/><Relationship Id="rId3" Type="http://schemas.openxmlformats.org/officeDocument/2006/relationships/tags" Target="../tags/tag221.xml"/><Relationship Id="rId7" Type="http://schemas.openxmlformats.org/officeDocument/2006/relationships/tags" Target="../tags/tag225.xml"/><Relationship Id="rId2" Type="http://schemas.openxmlformats.org/officeDocument/2006/relationships/tags" Target="../tags/tag220.xml"/><Relationship Id="rId1" Type="http://schemas.openxmlformats.org/officeDocument/2006/relationships/vmlDrawing" Target="../drawings/vmlDrawing33.vml"/><Relationship Id="rId6" Type="http://schemas.openxmlformats.org/officeDocument/2006/relationships/tags" Target="../tags/tag224.xml"/><Relationship Id="rId11" Type="http://schemas.openxmlformats.org/officeDocument/2006/relationships/image" Target="../media/image3.emf"/><Relationship Id="rId5" Type="http://schemas.openxmlformats.org/officeDocument/2006/relationships/tags" Target="../tags/tag223.xml"/><Relationship Id="rId10" Type="http://schemas.openxmlformats.org/officeDocument/2006/relationships/oleObject" Target="../embeddings/oleObject33.bin"/><Relationship Id="rId4" Type="http://schemas.openxmlformats.org/officeDocument/2006/relationships/tags" Target="../tags/tag222.xml"/><Relationship Id="rId9" Type="http://schemas.openxmlformats.org/officeDocument/2006/relationships/slideMaster" Target="../slideMasters/slideMaster13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3.xml"/><Relationship Id="rId3" Type="http://schemas.openxmlformats.org/officeDocument/2006/relationships/tags" Target="../tags/tag228.xml"/><Relationship Id="rId7" Type="http://schemas.openxmlformats.org/officeDocument/2006/relationships/tags" Target="../tags/tag232.xml"/><Relationship Id="rId2" Type="http://schemas.openxmlformats.org/officeDocument/2006/relationships/tags" Target="../tags/tag227.xml"/><Relationship Id="rId1" Type="http://schemas.openxmlformats.org/officeDocument/2006/relationships/vmlDrawing" Target="../drawings/vmlDrawing34.vml"/><Relationship Id="rId6" Type="http://schemas.openxmlformats.org/officeDocument/2006/relationships/tags" Target="../tags/tag231.xml"/><Relationship Id="rId5" Type="http://schemas.openxmlformats.org/officeDocument/2006/relationships/tags" Target="../tags/tag230.xml"/><Relationship Id="rId10" Type="http://schemas.openxmlformats.org/officeDocument/2006/relationships/image" Target="../media/image5.emf"/><Relationship Id="rId4" Type="http://schemas.openxmlformats.org/officeDocument/2006/relationships/tags" Target="../tags/tag229.xml"/><Relationship Id="rId9" Type="http://schemas.openxmlformats.org/officeDocument/2006/relationships/oleObject" Target="../embeddings/oleObject34.bin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3.xml"/><Relationship Id="rId3" Type="http://schemas.openxmlformats.org/officeDocument/2006/relationships/tags" Target="../tags/tag234.xml"/><Relationship Id="rId7" Type="http://schemas.openxmlformats.org/officeDocument/2006/relationships/tags" Target="../tags/tag238.xml"/><Relationship Id="rId2" Type="http://schemas.openxmlformats.org/officeDocument/2006/relationships/tags" Target="../tags/tag233.xml"/><Relationship Id="rId1" Type="http://schemas.openxmlformats.org/officeDocument/2006/relationships/vmlDrawing" Target="../drawings/vmlDrawing35.vml"/><Relationship Id="rId6" Type="http://schemas.openxmlformats.org/officeDocument/2006/relationships/tags" Target="../tags/tag237.xml"/><Relationship Id="rId5" Type="http://schemas.openxmlformats.org/officeDocument/2006/relationships/tags" Target="../tags/tag236.xml"/><Relationship Id="rId10" Type="http://schemas.openxmlformats.org/officeDocument/2006/relationships/image" Target="../media/image5.emf"/><Relationship Id="rId4" Type="http://schemas.openxmlformats.org/officeDocument/2006/relationships/tags" Target="../tags/tag235.xml"/><Relationship Id="rId9" Type="http://schemas.openxmlformats.org/officeDocument/2006/relationships/oleObject" Target="../embeddings/oleObject35.bin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3.xml"/><Relationship Id="rId3" Type="http://schemas.openxmlformats.org/officeDocument/2006/relationships/tags" Target="../tags/tag240.xml"/><Relationship Id="rId7" Type="http://schemas.openxmlformats.org/officeDocument/2006/relationships/tags" Target="../tags/tag244.xml"/><Relationship Id="rId2" Type="http://schemas.openxmlformats.org/officeDocument/2006/relationships/tags" Target="../tags/tag239.xml"/><Relationship Id="rId1" Type="http://schemas.openxmlformats.org/officeDocument/2006/relationships/vmlDrawing" Target="../drawings/vmlDrawing36.vml"/><Relationship Id="rId6" Type="http://schemas.openxmlformats.org/officeDocument/2006/relationships/tags" Target="../tags/tag243.xml"/><Relationship Id="rId5" Type="http://schemas.openxmlformats.org/officeDocument/2006/relationships/tags" Target="../tags/tag242.xml"/><Relationship Id="rId10" Type="http://schemas.openxmlformats.org/officeDocument/2006/relationships/image" Target="../media/image5.emf"/><Relationship Id="rId4" Type="http://schemas.openxmlformats.org/officeDocument/2006/relationships/tags" Target="../tags/tag241.xml"/><Relationship Id="rId9" Type="http://schemas.openxmlformats.org/officeDocument/2006/relationships/oleObject" Target="../embeddings/oleObject36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tags" Target="../tags/tag251.xml"/><Relationship Id="rId3" Type="http://schemas.openxmlformats.org/officeDocument/2006/relationships/tags" Target="../tags/tag246.xml"/><Relationship Id="rId7" Type="http://schemas.openxmlformats.org/officeDocument/2006/relationships/tags" Target="../tags/tag250.xml"/><Relationship Id="rId2" Type="http://schemas.openxmlformats.org/officeDocument/2006/relationships/tags" Target="../tags/tag245.xml"/><Relationship Id="rId1" Type="http://schemas.openxmlformats.org/officeDocument/2006/relationships/vmlDrawing" Target="../drawings/vmlDrawing37.vml"/><Relationship Id="rId6" Type="http://schemas.openxmlformats.org/officeDocument/2006/relationships/tags" Target="../tags/tag249.xml"/><Relationship Id="rId11" Type="http://schemas.openxmlformats.org/officeDocument/2006/relationships/image" Target="../media/image5.emf"/><Relationship Id="rId5" Type="http://schemas.openxmlformats.org/officeDocument/2006/relationships/tags" Target="../tags/tag248.xml"/><Relationship Id="rId10" Type="http://schemas.openxmlformats.org/officeDocument/2006/relationships/oleObject" Target="../embeddings/oleObject37.bin"/><Relationship Id="rId4" Type="http://schemas.openxmlformats.org/officeDocument/2006/relationships/tags" Target="../tags/tag247.xml"/><Relationship Id="rId9" Type="http://schemas.openxmlformats.org/officeDocument/2006/relationships/slideMaster" Target="../slideMasters/slideMaster13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tags" Target="../tags/tag258.xml"/><Relationship Id="rId13" Type="http://schemas.openxmlformats.org/officeDocument/2006/relationships/image" Target="../media/image1.png"/><Relationship Id="rId3" Type="http://schemas.openxmlformats.org/officeDocument/2006/relationships/tags" Target="../tags/tag253.xml"/><Relationship Id="rId7" Type="http://schemas.openxmlformats.org/officeDocument/2006/relationships/tags" Target="../tags/tag257.xml"/><Relationship Id="rId12" Type="http://schemas.openxmlformats.org/officeDocument/2006/relationships/image" Target="../media/image3.emf"/><Relationship Id="rId2" Type="http://schemas.openxmlformats.org/officeDocument/2006/relationships/tags" Target="../tags/tag252.xml"/><Relationship Id="rId1" Type="http://schemas.openxmlformats.org/officeDocument/2006/relationships/vmlDrawing" Target="../drawings/vmlDrawing38.vml"/><Relationship Id="rId6" Type="http://schemas.openxmlformats.org/officeDocument/2006/relationships/tags" Target="../tags/tag256.xml"/><Relationship Id="rId11" Type="http://schemas.openxmlformats.org/officeDocument/2006/relationships/oleObject" Target="../embeddings/oleObject38.bin"/><Relationship Id="rId5" Type="http://schemas.openxmlformats.org/officeDocument/2006/relationships/tags" Target="../tags/tag255.xml"/><Relationship Id="rId10" Type="http://schemas.openxmlformats.org/officeDocument/2006/relationships/slideMaster" Target="../slideMasters/slideMaster13.xml"/><Relationship Id="rId4" Type="http://schemas.openxmlformats.org/officeDocument/2006/relationships/tags" Target="../tags/tag254.xml"/><Relationship Id="rId9" Type="http://schemas.openxmlformats.org/officeDocument/2006/relationships/tags" Target="../tags/tag259.xml"/><Relationship Id="rId14" Type="http://schemas.openxmlformats.org/officeDocument/2006/relationships/image" Target="../media/image6.png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tags" Target="../tags/tag266.xml"/><Relationship Id="rId13" Type="http://schemas.openxmlformats.org/officeDocument/2006/relationships/image" Target="../media/image1.png"/><Relationship Id="rId3" Type="http://schemas.openxmlformats.org/officeDocument/2006/relationships/tags" Target="../tags/tag261.xml"/><Relationship Id="rId7" Type="http://schemas.openxmlformats.org/officeDocument/2006/relationships/tags" Target="../tags/tag265.xml"/><Relationship Id="rId12" Type="http://schemas.openxmlformats.org/officeDocument/2006/relationships/image" Target="../media/image3.emf"/><Relationship Id="rId2" Type="http://schemas.openxmlformats.org/officeDocument/2006/relationships/tags" Target="../tags/tag260.xml"/><Relationship Id="rId1" Type="http://schemas.openxmlformats.org/officeDocument/2006/relationships/vmlDrawing" Target="../drawings/vmlDrawing39.vml"/><Relationship Id="rId6" Type="http://schemas.openxmlformats.org/officeDocument/2006/relationships/tags" Target="../tags/tag264.xml"/><Relationship Id="rId11" Type="http://schemas.openxmlformats.org/officeDocument/2006/relationships/oleObject" Target="../embeddings/oleObject39.bin"/><Relationship Id="rId5" Type="http://schemas.openxmlformats.org/officeDocument/2006/relationships/tags" Target="../tags/tag263.xml"/><Relationship Id="rId10" Type="http://schemas.openxmlformats.org/officeDocument/2006/relationships/slideMaster" Target="../slideMasters/slideMaster13.xml"/><Relationship Id="rId4" Type="http://schemas.openxmlformats.org/officeDocument/2006/relationships/tags" Target="../tags/tag262.xml"/><Relationship Id="rId9" Type="http://schemas.openxmlformats.org/officeDocument/2006/relationships/tags" Target="../tags/tag267.xml"/><Relationship Id="rId14" Type="http://schemas.openxmlformats.org/officeDocument/2006/relationships/image" Target="../media/image6.png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tags" Target="../tags/tag274.xml"/><Relationship Id="rId13" Type="http://schemas.openxmlformats.org/officeDocument/2006/relationships/image" Target="../media/image1.png"/><Relationship Id="rId3" Type="http://schemas.openxmlformats.org/officeDocument/2006/relationships/tags" Target="../tags/tag269.xml"/><Relationship Id="rId7" Type="http://schemas.openxmlformats.org/officeDocument/2006/relationships/tags" Target="../tags/tag273.xml"/><Relationship Id="rId12" Type="http://schemas.openxmlformats.org/officeDocument/2006/relationships/image" Target="../media/image3.emf"/><Relationship Id="rId2" Type="http://schemas.openxmlformats.org/officeDocument/2006/relationships/tags" Target="../tags/tag268.xml"/><Relationship Id="rId1" Type="http://schemas.openxmlformats.org/officeDocument/2006/relationships/vmlDrawing" Target="../drawings/vmlDrawing40.vml"/><Relationship Id="rId6" Type="http://schemas.openxmlformats.org/officeDocument/2006/relationships/tags" Target="../tags/tag272.xml"/><Relationship Id="rId11" Type="http://schemas.openxmlformats.org/officeDocument/2006/relationships/oleObject" Target="../embeddings/oleObject40.bin"/><Relationship Id="rId5" Type="http://schemas.openxmlformats.org/officeDocument/2006/relationships/tags" Target="../tags/tag271.xml"/><Relationship Id="rId10" Type="http://schemas.openxmlformats.org/officeDocument/2006/relationships/slideMaster" Target="../slideMasters/slideMaster13.xml"/><Relationship Id="rId4" Type="http://schemas.openxmlformats.org/officeDocument/2006/relationships/tags" Target="../tags/tag270.xml"/><Relationship Id="rId9" Type="http://schemas.openxmlformats.org/officeDocument/2006/relationships/tags" Target="../tags/tag275.xml"/><Relationship Id="rId14" Type="http://schemas.openxmlformats.org/officeDocument/2006/relationships/image" Target="../media/image6.png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tags" Target="../tags/tag282.xml"/><Relationship Id="rId13" Type="http://schemas.openxmlformats.org/officeDocument/2006/relationships/image" Target="../media/image1.png"/><Relationship Id="rId3" Type="http://schemas.openxmlformats.org/officeDocument/2006/relationships/tags" Target="../tags/tag277.xml"/><Relationship Id="rId7" Type="http://schemas.openxmlformats.org/officeDocument/2006/relationships/tags" Target="../tags/tag281.xml"/><Relationship Id="rId12" Type="http://schemas.openxmlformats.org/officeDocument/2006/relationships/image" Target="../media/image7.emf"/><Relationship Id="rId2" Type="http://schemas.openxmlformats.org/officeDocument/2006/relationships/tags" Target="../tags/tag276.xml"/><Relationship Id="rId1" Type="http://schemas.openxmlformats.org/officeDocument/2006/relationships/vmlDrawing" Target="../drawings/vmlDrawing41.vml"/><Relationship Id="rId6" Type="http://schemas.openxmlformats.org/officeDocument/2006/relationships/tags" Target="../tags/tag280.xml"/><Relationship Id="rId11" Type="http://schemas.openxmlformats.org/officeDocument/2006/relationships/oleObject" Target="../embeddings/oleObject41.bin"/><Relationship Id="rId5" Type="http://schemas.openxmlformats.org/officeDocument/2006/relationships/tags" Target="../tags/tag279.xml"/><Relationship Id="rId10" Type="http://schemas.openxmlformats.org/officeDocument/2006/relationships/slideMaster" Target="../slideMasters/slideMaster13.xml"/><Relationship Id="rId4" Type="http://schemas.openxmlformats.org/officeDocument/2006/relationships/tags" Target="../tags/tag278.xml"/><Relationship Id="rId9" Type="http://schemas.openxmlformats.org/officeDocument/2006/relationships/tags" Target="../tags/tag283.xml"/><Relationship Id="rId14" Type="http://schemas.openxmlformats.org/officeDocument/2006/relationships/image" Target="../media/image6.png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tags" Target="../tags/tag290.xml"/><Relationship Id="rId13" Type="http://schemas.openxmlformats.org/officeDocument/2006/relationships/image" Target="../media/image1.png"/><Relationship Id="rId3" Type="http://schemas.openxmlformats.org/officeDocument/2006/relationships/tags" Target="../tags/tag285.xml"/><Relationship Id="rId7" Type="http://schemas.openxmlformats.org/officeDocument/2006/relationships/tags" Target="../tags/tag289.xml"/><Relationship Id="rId12" Type="http://schemas.openxmlformats.org/officeDocument/2006/relationships/image" Target="../media/image3.emf"/><Relationship Id="rId2" Type="http://schemas.openxmlformats.org/officeDocument/2006/relationships/tags" Target="../tags/tag284.xml"/><Relationship Id="rId1" Type="http://schemas.openxmlformats.org/officeDocument/2006/relationships/vmlDrawing" Target="../drawings/vmlDrawing42.vml"/><Relationship Id="rId6" Type="http://schemas.openxmlformats.org/officeDocument/2006/relationships/tags" Target="../tags/tag288.xml"/><Relationship Id="rId11" Type="http://schemas.openxmlformats.org/officeDocument/2006/relationships/oleObject" Target="../embeddings/oleObject42.bin"/><Relationship Id="rId5" Type="http://schemas.openxmlformats.org/officeDocument/2006/relationships/tags" Target="../tags/tag287.xml"/><Relationship Id="rId10" Type="http://schemas.openxmlformats.org/officeDocument/2006/relationships/slideMaster" Target="../slideMasters/slideMaster13.xml"/><Relationship Id="rId4" Type="http://schemas.openxmlformats.org/officeDocument/2006/relationships/tags" Target="../tags/tag286.xml"/><Relationship Id="rId9" Type="http://schemas.openxmlformats.org/officeDocument/2006/relationships/tags" Target="../tags/tag291.xml"/><Relationship Id="rId14" Type="http://schemas.openxmlformats.org/officeDocument/2006/relationships/image" Target="../media/image6.png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3.xml"/><Relationship Id="rId3" Type="http://schemas.openxmlformats.org/officeDocument/2006/relationships/tags" Target="../tags/tag293.xml"/><Relationship Id="rId7" Type="http://schemas.openxmlformats.org/officeDocument/2006/relationships/tags" Target="../tags/tag297.xml"/><Relationship Id="rId2" Type="http://schemas.openxmlformats.org/officeDocument/2006/relationships/tags" Target="../tags/tag292.xml"/><Relationship Id="rId1" Type="http://schemas.openxmlformats.org/officeDocument/2006/relationships/vmlDrawing" Target="../drawings/vmlDrawing43.vml"/><Relationship Id="rId6" Type="http://schemas.openxmlformats.org/officeDocument/2006/relationships/tags" Target="../tags/tag296.xml"/><Relationship Id="rId11" Type="http://schemas.openxmlformats.org/officeDocument/2006/relationships/image" Target="../media/image1.png"/><Relationship Id="rId5" Type="http://schemas.openxmlformats.org/officeDocument/2006/relationships/tags" Target="../tags/tag295.xml"/><Relationship Id="rId10" Type="http://schemas.openxmlformats.org/officeDocument/2006/relationships/image" Target="../media/image5.emf"/><Relationship Id="rId4" Type="http://schemas.openxmlformats.org/officeDocument/2006/relationships/tags" Target="../tags/tag294.xml"/><Relationship Id="rId9" Type="http://schemas.openxmlformats.org/officeDocument/2006/relationships/oleObject" Target="../embeddings/oleObject43.bin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299.xml"/><Relationship Id="rId7" Type="http://schemas.openxmlformats.org/officeDocument/2006/relationships/oleObject" Target="../embeddings/oleObject44.bin"/><Relationship Id="rId2" Type="http://schemas.openxmlformats.org/officeDocument/2006/relationships/tags" Target="../tags/tag298.xml"/><Relationship Id="rId1" Type="http://schemas.openxmlformats.org/officeDocument/2006/relationships/vmlDrawing" Target="../drawings/vmlDrawing44.vml"/><Relationship Id="rId6" Type="http://schemas.openxmlformats.org/officeDocument/2006/relationships/slideMaster" Target="../slideMasters/slideMaster13.xml"/><Relationship Id="rId5" Type="http://schemas.openxmlformats.org/officeDocument/2006/relationships/tags" Target="../tags/tag301.xml"/><Relationship Id="rId4" Type="http://schemas.openxmlformats.org/officeDocument/2006/relationships/tags" Target="../tags/tag300.xml"/><Relationship Id="rId9" Type="http://schemas.openxmlformats.org/officeDocument/2006/relationships/image" Target="../media/image1.png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303.xml"/><Relationship Id="rId7" Type="http://schemas.openxmlformats.org/officeDocument/2006/relationships/image" Target="../media/image1.png"/><Relationship Id="rId2" Type="http://schemas.openxmlformats.org/officeDocument/2006/relationships/tags" Target="../tags/tag302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1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7.xml"/><Relationship Id="rId1" Type="http://schemas.openxmlformats.org/officeDocument/2006/relationships/tags" Target="../tags/tag305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7.xml"/><Relationship Id="rId1" Type="http://schemas.openxmlformats.org/officeDocument/2006/relationships/tags" Target="../tags/tag306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7.xml"/><Relationship Id="rId1" Type="http://schemas.openxmlformats.org/officeDocument/2006/relationships/tags" Target="../tags/tag30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8.xml"/><Relationship Id="rId1" Type="http://schemas.openxmlformats.org/officeDocument/2006/relationships/tags" Target="../tags/tag309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8.xml"/><Relationship Id="rId1" Type="http://schemas.openxmlformats.org/officeDocument/2006/relationships/tags" Target="../tags/tag310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9.xml"/><Relationship Id="rId1" Type="http://schemas.openxmlformats.org/officeDocument/2006/relationships/tags" Target="../tags/tag31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9.xml"/><Relationship Id="rId1" Type="http://schemas.openxmlformats.org/officeDocument/2006/relationships/tags" Target="../tags/tag31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9.xml"/><Relationship Id="rId1" Type="http://schemas.openxmlformats.org/officeDocument/2006/relationships/tags" Target="../tags/tag31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3106" y="2929089"/>
            <a:ext cx="8229600" cy="482731"/>
          </a:xfrm>
        </p:spPr>
        <p:txBody>
          <a:bodyPr>
            <a:noAutofit/>
          </a:bodyPr>
          <a:lstStyle>
            <a:lvl1pPr>
              <a:lnSpc>
                <a:spcPts val="2580"/>
              </a:lnSpc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712788" y="3392488"/>
            <a:ext cx="8229918" cy="3146425"/>
          </a:xfrm>
        </p:spPr>
        <p:txBody>
          <a:bodyPr anchor="t" anchorCtr="0">
            <a:noAutofit/>
          </a:bodyPr>
          <a:lstStyle>
            <a:lvl1pPr>
              <a:lnSpc>
                <a:spcPts val="1760"/>
              </a:lnSpc>
              <a:defRPr sz="1800" b="0" i="0" cap="none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1760"/>
              </a:lnSpc>
              <a:defRPr sz="1800" b="0" i="0" cap="none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1760"/>
              </a:lnSpc>
              <a:defRPr sz="1800" b="0" i="0" cap="none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1760"/>
              </a:lnSpc>
              <a:defRPr sz="1800" b="0" i="0" cap="none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1760"/>
              </a:lnSpc>
              <a:defRPr sz="1800" b="0" i="0" cap="none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09301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0604754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>
            <a:lvl1pPr>
              <a:defRPr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3106" y="2929089"/>
            <a:ext cx="8229600" cy="482731"/>
          </a:xfrm>
        </p:spPr>
        <p:txBody>
          <a:bodyPr>
            <a:noAutofit/>
          </a:bodyPr>
          <a:lstStyle>
            <a:lvl1pPr>
              <a:lnSpc>
                <a:spcPts val="2580"/>
              </a:lnSpc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712788" y="3392488"/>
            <a:ext cx="8229918" cy="3146425"/>
          </a:xfrm>
        </p:spPr>
        <p:txBody>
          <a:bodyPr anchor="t" anchorCtr="0">
            <a:noAutofit/>
          </a:bodyPr>
          <a:lstStyle>
            <a:lvl1pPr>
              <a:lnSpc>
                <a:spcPts val="1760"/>
              </a:lnSpc>
              <a:defRPr sz="1800" b="0" i="0" cap="none">
                <a:solidFill>
                  <a:schemeClr val="accent6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1760"/>
              </a:lnSpc>
              <a:defRPr sz="1800" b="0" i="0" cap="none">
                <a:solidFill>
                  <a:schemeClr val="accent6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1760"/>
              </a:lnSpc>
              <a:defRPr sz="1800" b="0" i="0" cap="none">
                <a:solidFill>
                  <a:schemeClr val="accent6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1760"/>
              </a:lnSpc>
              <a:defRPr sz="1800" b="0" i="0" cap="none">
                <a:solidFill>
                  <a:schemeClr val="accent6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1760"/>
              </a:lnSpc>
              <a:defRPr sz="1800" b="0" i="0" cap="none">
                <a:solidFill>
                  <a:schemeClr val="accent6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/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1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US" sz="33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FE3CEA9-D7EF-41D4-829C-39E4BE3E9DB7}"/>
              </a:ext>
            </a:extLst>
          </p:cNvPr>
          <p:cNvSpPr/>
          <p:nvPr userDrawn="1"/>
        </p:nvSpPr>
        <p:spPr bwMode="ltGray">
          <a:xfrm>
            <a:off x="0" y="1"/>
            <a:ext cx="9144000" cy="932687"/>
          </a:xfrm>
          <a:prstGeom prst="rect">
            <a:avLst/>
          </a:prstGeom>
          <a:solidFill>
            <a:srgbClr val="232D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99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CA99C05-2AE7-4D9F-8120-681B0DC1C500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7098015" y="76882"/>
            <a:ext cx="1629934" cy="778924"/>
          </a:xfrm>
          <a:prstGeom prst="rect">
            <a:avLst/>
          </a:prstGeom>
        </p:spPr>
      </p:pic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924453" y="4927777"/>
            <a:ext cx="7295096" cy="16158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1050" dirty="0"/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924453" y="4193778"/>
            <a:ext cx="7295096" cy="23083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15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924453" y="3259723"/>
            <a:ext cx="7295096" cy="50783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3300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52D1344-FA00-9A4F-B397-5D9B68D3F91B}"/>
              </a:ext>
            </a:extLst>
          </p:cNvPr>
          <p:cNvSpPr txBox="1"/>
          <p:nvPr userDrawn="1"/>
        </p:nvSpPr>
        <p:spPr>
          <a:xfrm>
            <a:off x="6797233" y="6007261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262F3E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36AFC41-EF00-B940-916D-4B35BE2634CF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rcRect/>
          <a:stretch/>
        </p:blipFill>
        <p:spPr>
          <a:xfrm>
            <a:off x="7658666" y="4831507"/>
            <a:ext cx="1219590" cy="1754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6794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5"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72212"/>
            <a:ext cx="7022592" cy="73152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951964"/>
            <a:ext cx="7022592" cy="207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35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6498755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415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A8582D8-1A3A-F847-8950-ED8274BB0985}"/>
              </a:ext>
            </a:extLst>
          </p:cNvPr>
          <p:cNvSpPr txBox="1"/>
          <p:nvPr userDrawn="1"/>
        </p:nvSpPr>
        <p:spPr>
          <a:xfrm>
            <a:off x="8435340" y="539496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262F3E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00747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9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706563"/>
            <a:ext cx="2859786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6501670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1" y="415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50037207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3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3044281"/>
            <a:ext cx="3799332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6501670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1" y="415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9880416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7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US" sz="33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4580468"/>
            <a:ext cx="8311896" cy="677108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33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6501670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1" y="415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8624617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0" y="2106145"/>
            <a:ext cx="9127098" cy="1325563"/>
          </a:xfrm>
          <a:prstGeom prst="rect">
            <a:avLst/>
          </a:prstGeom>
        </p:spPr>
        <p:txBody>
          <a:bodyPr/>
          <a:lstStyle>
            <a:lvl1pPr>
              <a:defRPr b="1" i="0" cap="none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presentation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3687762"/>
            <a:ext cx="9127098" cy="599425"/>
          </a:xfrm>
          <a:prstGeom prst="rect">
            <a:avLst/>
          </a:prstGeom>
        </p:spPr>
        <p:txBody>
          <a:bodyPr/>
          <a:lstStyle>
            <a:lvl1pPr algn="ctr">
              <a:defRPr sz="2800" b="1" i="0" cap="none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Presenters Nam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4287187"/>
            <a:ext cx="9143999" cy="584825"/>
          </a:xfrm>
          <a:prstGeom prst="rect">
            <a:avLst/>
          </a:prstGeom>
        </p:spPr>
        <p:txBody>
          <a:bodyPr/>
          <a:lstStyle>
            <a:lvl1pPr algn="ctr">
              <a:defRPr sz="1800" b="1" i="0" cap="none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Presentation Date</a:t>
            </a:r>
          </a:p>
        </p:txBody>
      </p:sp>
    </p:spTree>
    <p:extLst/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1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US" sz="255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129284" y="3611821"/>
            <a:ext cx="6885432" cy="412036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25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129284" y="4284631"/>
            <a:ext cx="6885432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6501670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415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51986268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5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2560320" y="0"/>
            <a:ext cx="6583680" cy="6858000"/>
          </a:xfrm>
          <a:prstGeom prst="rect">
            <a:avLst/>
          </a:prstGeom>
          <a:solidFill>
            <a:srgbClr val="D3D9E5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416052" y="2744370"/>
            <a:ext cx="1885950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16052" y="3659644"/>
            <a:ext cx="1885950" cy="4154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6501670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2" y="41598"/>
            <a:ext cx="1885951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3BDF6FA-3AD7-4964-981C-64671D594233}"/>
              </a:ext>
            </a:extLst>
          </p:cNvPr>
          <p:cNvGrpSpPr/>
          <p:nvPr userDrawn="1"/>
        </p:nvGrpSpPr>
        <p:grpSpPr>
          <a:xfrm>
            <a:off x="7579660" y="263596"/>
            <a:ext cx="1148288" cy="548752"/>
            <a:chOff x="10106214" y="263596"/>
            <a:chExt cx="1531050" cy="548752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B4F09271-B44D-40C5-9FA7-7BAB7787303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3422"/>
            <a:stretch/>
          </p:blipFill>
          <p:spPr bwMode="ltGray">
            <a:xfrm>
              <a:off x="10106214" y="263596"/>
              <a:ext cx="253812" cy="548752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A8582B2E-3BD5-4942-99B6-2BCBB632999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3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brightnessContrast bright="-10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578"/>
            <a:stretch/>
          </p:blipFill>
          <p:spPr bwMode="ltGray">
            <a:xfrm>
              <a:off x="10360025" y="263596"/>
              <a:ext cx="1277239" cy="548752"/>
            </a:xfrm>
            <a:prstGeom prst="rect">
              <a:avLst/>
            </a:prstGeom>
          </p:spPr>
        </p:pic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9ED529A2-529B-DF44-B177-C8E98EAFDF06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rcRect/>
          <a:stretch/>
        </p:blipFill>
        <p:spPr>
          <a:xfrm>
            <a:off x="749231" y="4869779"/>
            <a:ext cx="1219590" cy="1754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170981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69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273552" y="0"/>
            <a:ext cx="5870448" cy="6858000"/>
          </a:xfrm>
          <a:prstGeom prst="rect">
            <a:avLst/>
          </a:prstGeom>
          <a:solidFill>
            <a:srgbClr val="D3D9E5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416052" y="2744370"/>
            <a:ext cx="2599182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16052" y="3659645"/>
            <a:ext cx="2599181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6501670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1" y="41598"/>
            <a:ext cx="2599183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1432785-39EC-4268-92B5-B95753FB92CF}"/>
              </a:ext>
            </a:extLst>
          </p:cNvPr>
          <p:cNvGrpSpPr/>
          <p:nvPr userDrawn="1"/>
        </p:nvGrpSpPr>
        <p:grpSpPr>
          <a:xfrm>
            <a:off x="7579660" y="263596"/>
            <a:ext cx="1148288" cy="548752"/>
            <a:chOff x="10106214" y="263596"/>
            <a:chExt cx="1531050" cy="548752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7175272A-5CD9-4281-9048-A548D130060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3422"/>
            <a:stretch/>
          </p:blipFill>
          <p:spPr bwMode="ltGray">
            <a:xfrm>
              <a:off x="10106214" y="263596"/>
              <a:ext cx="253812" cy="548752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5278CD37-1ED3-4C9C-AFB0-C48C5FB6A2E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3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brightnessContrast bright="-10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578"/>
            <a:stretch/>
          </p:blipFill>
          <p:spPr bwMode="ltGray">
            <a:xfrm>
              <a:off x="10360025" y="263596"/>
              <a:ext cx="1277239" cy="548752"/>
            </a:xfrm>
            <a:prstGeom prst="rect">
              <a:avLst/>
            </a:prstGeom>
          </p:spPr>
        </p:pic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8C8CEF70-91FD-2743-9BFB-90F60563838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rcRect/>
          <a:stretch/>
        </p:blipFill>
        <p:spPr>
          <a:xfrm>
            <a:off x="1105847" y="4869779"/>
            <a:ext cx="1219590" cy="1754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97462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3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569714" y="0"/>
            <a:ext cx="4574286" cy="6858000"/>
          </a:xfrm>
          <a:prstGeom prst="rect">
            <a:avLst/>
          </a:prstGeom>
          <a:solidFill>
            <a:srgbClr val="D3D9E5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416052" y="172212"/>
            <a:ext cx="3799332" cy="7315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16052" y="951964"/>
            <a:ext cx="3799332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6501670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1" y="415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FEC8973-5E3B-4EAF-BA26-1C9B438661C8}"/>
              </a:ext>
            </a:extLst>
          </p:cNvPr>
          <p:cNvGrpSpPr/>
          <p:nvPr userDrawn="1"/>
        </p:nvGrpSpPr>
        <p:grpSpPr>
          <a:xfrm>
            <a:off x="7579660" y="263596"/>
            <a:ext cx="1148288" cy="548752"/>
            <a:chOff x="10106214" y="263596"/>
            <a:chExt cx="1531050" cy="548752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A47DBC4A-D977-4988-8F49-55DEB85A0E9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3422"/>
            <a:stretch/>
          </p:blipFill>
          <p:spPr bwMode="ltGray">
            <a:xfrm>
              <a:off x="10106214" y="263596"/>
              <a:ext cx="253812" cy="548752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B9CCC9C2-DB72-4DDD-9833-99B2A83A36C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3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brightnessContrast bright="-10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578"/>
            <a:stretch/>
          </p:blipFill>
          <p:spPr bwMode="ltGray">
            <a:xfrm>
              <a:off x="10360025" y="263596"/>
              <a:ext cx="1277239" cy="548752"/>
            </a:xfrm>
            <a:prstGeom prst="rect">
              <a:avLst/>
            </a:prstGeom>
          </p:spPr>
        </p:pic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C40571A4-B50F-2C48-98A4-930D05F6FBBC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rcRect/>
          <a:stretch/>
        </p:blipFill>
        <p:spPr>
          <a:xfrm>
            <a:off x="415481" y="4869779"/>
            <a:ext cx="1219590" cy="1754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329733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17"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72212"/>
            <a:ext cx="5225796" cy="7315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5872734" y="0"/>
            <a:ext cx="3271266" cy="6858000"/>
          </a:xfrm>
          <a:prstGeom prst="rect">
            <a:avLst/>
          </a:prstGeom>
          <a:solidFill>
            <a:srgbClr val="D3D9E5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16052" y="951964"/>
            <a:ext cx="5225796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6501670"/>
            <a:ext cx="5225797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1" y="415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D7916D3-FA92-498E-8937-CF3F8C58DF2F}"/>
              </a:ext>
            </a:extLst>
          </p:cNvPr>
          <p:cNvGrpSpPr/>
          <p:nvPr userDrawn="1"/>
        </p:nvGrpSpPr>
        <p:grpSpPr>
          <a:xfrm>
            <a:off x="7579660" y="263596"/>
            <a:ext cx="1148288" cy="548752"/>
            <a:chOff x="10106214" y="263596"/>
            <a:chExt cx="1531050" cy="548752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17A82D96-F7FF-4033-A4D0-D085E578059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3422"/>
            <a:stretch/>
          </p:blipFill>
          <p:spPr bwMode="ltGray">
            <a:xfrm>
              <a:off x="10106214" y="263596"/>
              <a:ext cx="253812" cy="548752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4B1DB27C-9E02-462B-B873-3DEA07FB1DC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3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brightnessContrast bright="-10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578"/>
            <a:stretch/>
          </p:blipFill>
          <p:spPr bwMode="ltGray">
            <a:xfrm>
              <a:off x="10360025" y="263596"/>
              <a:ext cx="1277239" cy="548752"/>
            </a:xfrm>
            <a:prstGeom prst="rect">
              <a:avLst/>
            </a:prstGeom>
          </p:spPr>
        </p:pic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78F0EF9D-BD93-EC4F-99F5-EB4F9C32083D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rcRect/>
          <a:stretch/>
        </p:blipFill>
        <p:spPr>
          <a:xfrm>
            <a:off x="415481" y="4869779"/>
            <a:ext cx="1219590" cy="1754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267053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41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586062" y="0"/>
            <a:ext cx="2557938" cy="6858000"/>
          </a:xfrm>
          <a:prstGeom prst="rect">
            <a:avLst/>
          </a:prstGeom>
          <a:solidFill>
            <a:srgbClr val="D3D9E5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416052" y="172212"/>
            <a:ext cx="5939028" cy="7315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16052" y="951964"/>
            <a:ext cx="5939028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6501670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1" y="415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E8B6213-5021-4E77-8185-09DC6C57C1AF}"/>
              </a:ext>
            </a:extLst>
          </p:cNvPr>
          <p:cNvGrpSpPr/>
          <p:nvPr userDrawn="1"/>
        </p:nvGrpSpPr>
        <p:grpSpPr>
          <a:xfrm>
            <a:off x="7579660" y="263596"/>
            <a:ext cx="1148288" cy="548752"/>
            <a:chOff x="10106214" y="263596"/>
            <a:chExt cx="1531050" cy="548752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BA14EC51-ADA2-41B1-B4FC-9D555C01F96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3422"/>
            <a:stretch/>
          </p:blipFill>
          <p:spPr bwMode="ltGray">
            <a:xfrm>
              <a:off x="10106214" y="263596"/>
              <a:ext cx="253812" cy="548752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63C8DD2B-24D8-45B4-9AAA-BC465C2A0DF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3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brightnessContrast bright="-10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578"/>
            <a:stretch/>
          </p:blipFill>
          <p:spPr bwMode="ltGray">
            <a:xfrm>
              <a:off x="10360025" y="263596"/>
              <a:ext cx="1277239" cy="548752"/>
            </a:xfrm>
            <a:prstGeom prst="rect">
              <a:avLst/>
            </a:prstGeom>
          </p:spPr>
        </p:pic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1BA0FDEE-666F-2B47-B890-87D2CC8C96B4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rcRect/>
          <a:stretch/>
        </p:blipFill>
        <p:spPr>
          <a:xfrm>
            <a:off x="415481" y="4869779"/>
            <a:ext cx="1219590" cy="1754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244978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65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0F6A445-103F-4C85-BAEE-F74686212E19}"/>
              </a:ext>
            </a:extLst>
          </p:cNvPr>
          <p:cNvSpPr/>
          <p:nvPr userDrawn="1"/>
        </p:nvSpPr>
        <p:spPr bwMode="ltGray">
          <a:xfrm>
            <a:off x="0" y="1"/>
            <a:ext cx="9144000" cy="932687"/>
          </a:xfrm>
          <a:prstGeom prst="rect">
            <a:avLst/>
          </a:prstGeom>
          <a:solidFill>
            <a:srgbClr val="232D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99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FF25EA3-1EC6-43F6-9FEF-B688A514B043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7579660" y="263596"/>
            <a:ext cx="1148288" cy="548752"/>
          </a:xfrm>
          <a:prstGeom prst="rect">
            <a:avLst/>
          </a:prstGeom>
        </p:spPr>
      </p:pic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75171"/>
            <a:ext cx="7022592" cy="73152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6501670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1" y="415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160C1E1-1081-8A48-9847-C6006F263F50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rcRect/>
          <a:stretch/>
        </p:blipFill>
        <p:spPr>
          <a:xfrm>
            <a:off x="7544009" y="4826930"/>
            <a:ext cx="1219590" cy="1754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808785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89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84DEF5DF-B77A-4F53-BEC9-72095D741BA5}"/>
              </a:ext>
            </a:extLst>
          </p:cNvPr>
          <p:cNvSpPr/>
          <p:nvPr userDrawn="1"/>
        </p:nvSpPr>
        <p:spPr bwMode="ltGray">
          <a:xfrm>
            <a:off x="0" y="1"/>
            <a:ext cx="9144000" cy="932687"/>
          </a:xfrm>
          <a:prstGeom prst="rect">
            <a:avLst/>
          </a:prstGeom>
          <a:solidFill>
            <a:srgbClr val="232D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99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8EBE437-ADD5-4859-A116-2989CA42FFF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7579660" y="263596"/>
            <a:ext cx="1148288" cy="548752"/>
          </a:xfrm>
          <a:prstGeom prst="rect">
            <a:avLst/>
          </a:prstGeom>
        </p:spPr>
      </p:pic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16052" y="6501670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416051" y="415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F4AF1D5-E1C1-984C-9410-7C8C6159D42A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rcRect/>
          <a:stretch/>
        </p:blipFill>
        <p:spPr>
          <a:xfrm>
            <a:off x="7544009" y="4826930"/>
            <a:ext cx="1219590" cy="1754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054210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13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16052" y="6501670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DDBD6CA-366F-4CED-ACD4-4C95FFF69BCD}"/>
              </a:ext>
            </a:extLst>
          </p:cNvPr>
          <p:cNvGrpSpPr/>
          <p:nvPr userDrawn="1"/>
        </p:nvGrpSpPr>
        <p:grpSpPr>
          <a:xfrm>
            <a:off x="2871181" y="2616200"/>
            <a:ext cx="3401639" cy="1625600"/>
            <a:chOff x="10106214" y="263596"/>
            <a:chExt cx="1531050" cy="548752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A62DECE0-1718-4A88-99DE-D85AF8CD0A3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3422"/>
            <a:stretch/>
          </p:blipFill>
          <p:spPr bwMode="ltGray">
            <a:xfrm>
              <a:off x="10106214" y="263596"/>
              <a:ext cx="253812" cy="548752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88C7F3DE-EC11-4B57-B7DC-C64A975FB20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-10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578"/>
            <a:stretch/>
          </p:blipFill>
          <p:spPr bwMode="ltGray">
            <a:xfrm>
              <a:off x="10360025" y="263596"/>
              <a:ext cx="1277239" cy="5487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6866444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94114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13106" y="1700796"/>
            <a:ext cx="8229600" cy="1143000"/>
          </a:xfrm>
          <a:prstGeom prst="rect">
            <a:avLst/>
          </a:prstGeom>
        </p:spPr>
        <p:txBody>
          <a:bodyPr anchor="ctr" anchorCtr="0"/>
          <a:lstStyle>
            <a:lvl1pPr algn="l">
              <a:defRPr b="1" i="0" cap="none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713106" y="2929089"/>
            <a:ext cx="8229600" cy="48273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2580"/>
              </a:lnSpc>
              <a:defRPr b="1" i="0" cap="none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712788" y="3392489"/>
            <a:ext cx="8139112" cy="284342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lnSpc>
                <a:spcPts val="1760"/>
              </a:lnSpc>
              <a:defRPr sz="1800" b="0" i="0" cap="none" baseline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1760"/>
              </a:lnSpc>
              <a:defRPr sz="1800" b="0" i="0" cap="none" baseline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1760"/>
              </a:lnSpc>
              <a:defRPr sz="1800" b="0" i="0" cap="none" baseline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1760"/>
              </a:lnSpc>
              <a:defRPr sz="1800" b="0" i="0" cap="none" baseline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1760"/>
              </a:lnSpc>
              <a:defRPr sz="1800" b="0" i="0" cap="none" baseline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983666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0" y="2106147"/>
            <a:ext cx="9127098" cy="1325563"/>
          </a:xfrm>
          <a:prstGeom prst="rect">
            <a:avLst/>
          </a:prstGeom>
        </p:spPr>
        <p:txBody>
          <a:bodyPr/>
          <a:lstStyle>
            <a:lvl1pPr>
              <a:defRPr b="1" i="0" cap="none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presentation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3687764"/>
            <a:ext cx="9127098" cy="599425"/>
          </a:xfrm>
          <a:prstGeom prst="rect">
            <a:avLst/>
          </a:prstGeom>
        </p:spPr>
        <p:txBody>
          <a:bodyPr/>
          <a:lstStyle>
            <a:lvl1pPr algn="ctr">
              <a:defRPr sz="2100" b="1" i="0" cap="none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Presenters Nam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4287189"/>
            <a:ext cx="9143999" cy="584825"/>
          </a:xfrm>
          <a:prstGeom prst="rect">
            <a:avLst/>
          </a:prstGeom>
        </p:spPr>
        <p:txBody>
          <a:bodyPr/>
          <a:lstStyle>
            <a:lvl1pPr algn="ctr">
              <a:defRPr sz="1350" b="1" i="0" cap="none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137250733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13106" y="1700796"/>
            <a:ext cx="8229600" cy="1143000"/>
          </a:xfrm>
          <a:prstGeom prst="rect">
            <a:avLst/>
          </a:prstGeom>
        </p:spPr>
        <p:txBody>
          <a:bodyPr anchor="ctr" anchorCtr="0"/>
          <a:lstStyle>
            <a:lvl1pPr algn="l">
              <a:defRPr b="1" i="0" cap="none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713106" y="2929091"/>
            <a:ext cx="8229600" cy="48273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935"/>
              </a:lnSpc>
              <a:defRPr b="1" i="0" cap="none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712788" y="3392489"/>
            <a:ext cx="8139112" cy="284342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lnSpc>
                <a:spcPts val="1320"/>
              </a:lnSpc>
              <a:defRPr sz="1350" b="0" i="0" cap="none" baseline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1320"/>
              </a:lnSpc>
              <a:defRPr sz="1350" b="0" i="0" cap="none" baseline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1320"/>
              </a:lnSpc>
              <a:defRPr sz="1350" b="0" i="0" cap="none" baseline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1320"/>
              </a:lnSpc>
              <a:defRPr sz="1350" b="0" i="0" cap="none" baseline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1320"/>
              </a:lnSpc>
              <a:defRPr sz="1350" b="0" i="0" cap="none" baseline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5658730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5558276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0" y="2106145"/>
            <a:ext cx="9127098" cy="1325563"/>
          </a:xfrm>
          <a:prstGeom prst="rect">
            <a:avLst/>
          </a:prstGeom>
        </p:spPr>
        <p:txBody>
          <a:bodyPr/>
          <a:lstStyle>
            <a:lvl1pPr>
              <a:defRPr b="1" i="0" cap="none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presentation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3687762"/>
            <a:ext cx="9127098" cy="599425"/>
          </a:xfrm>
          <a:prstGeom prst="rect">
            <a:avLst/>
          </a:prstGeom>
        </p:spPr>
        <p:txBody>
          <a:bodyPr/>
          <a:lstStyle>
            <a:lvl1pPr algn="ctr">
              <a:defRPr sz="2800" b="1" i="0" cap="none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Presenters Nam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4287187"/>
            <a:ext cx="9143999" cy="584825"/>
          </a:xfrm>
          <a:prstGeom prst="rect">
            <a:avLst/>
          </a:prstGeom>
        </p:spPr>
        <p:txBody>
          <a:bodyPr/>
          <a:lstStyle>
            <a:lvl1pPr algn="ctr">
              <a:defRPr sz="1800" b="1" i="0" cap="none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183607503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13106" y="1700796"/>
            <a:ext cx="8229600" cy="1143000"/>
          </a:xfrm>
          <a:prstGeom prst="rect">
            <a:avLst/>
          </a:prstGeom>
        </p:spPr>
        <p:txBody>
          <a:bodyPr anchor="ctr" anchorCtr="0"/>
          <a:lstStyle>
            <a:lvl1pPr algn="l">
              <a:defRPr b="1" i="0" cap="none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713106" y="2929089"/>
            <a:ext cx="8229600" cy="48273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2580"/>
              </a:lnSpc>
              <a:defRPr b="1" i="0" cap="none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712788" y="3392489"/>
            <a:ext cx="8139112" cy="284342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lnSpc>
                <a:spcPts val="1760"/>
              </a:lnSpc>
              <a:defRPr sz="1800" b="0" i="0" cap="none" baseline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1760"/>
              </a:lnSpc>
              <a:defRPr sz="1800" b="0" i="0" cap="none" baseline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1760"/>
              </a:lnSpc>
              <a:defRPr sz="1800" b="0" i="0" cap="none" baseline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1760"/>
              </a:lnSpc>
              <a:defRPr sz="1800" b="0" i="0" cap="none" baseline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1760"/>
              </a:lnSpc>
              <a:defRPr sz="1800" b="0" i="0" cap="none" baseline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7143064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/>
          <p:cNvSpPr>
            <a:spLocks noGrp="1"/>
          </p:cNvSpPr>
          <p:nvPr>
            <p:ph type="title" hasCustomPrompt="1"/>
          </p:nvPr>
        </p:nvSpPr>
        <p:spPr>
          <a:xfrm>
            <a:off x="0" y="2106145"/>
            <a:ext cx="9127098" cy="1325563"/>
          </a:xfrm>
          <a:prstGeom prst="rect">
            <a:avLst/>
          </a:prstGeom>
        </p:spPr>
        <p:txBody>
          <a:bodyPr/>
          <a:lstStyle>
            <a:lvl1pPr algn="ctr">
              <a:defRPr b="1" i="0" cap="none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3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3687762"/>
            <a:ext cx="9127098" cy="599425"/>
          </a:xfrm>
          <a:prstGeom prst="rect">
            <a:avLst/>
          </a:prstGeom>
        </p:spPr>
        <p:txBody>
          <a:bodyPr/>
          <a:lstStyle>
            <a:lvl1pPr algn="ctr">
              <a:defRPr sz="2800" b="1" i="0" cap="none" baseline="0">
                <a:solidFill>
                  <a:srgbClr val="00206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</a:t>
            </a:r>
            <a:r>
              <a:rPr lang="en-US" dirty="0" smtClean="0"/>
              <a:t>Presenter’s </a:t>
            </a:r>
            <a:r>
              <a:rPr lang="en-US" dirty="0"/>
              <a:t>Name</a:t>
            </a:r>
          </a:p>
        </p:txBody>
      </p:sp>
      <p:sp>
        <p:nvSpPr>
          <p:cNvPr id="4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4287187"/>
            <a:ext cx="9143999" cy="584825"/>
          </a:xfrm>
          <a:prstGeom prst="rect">
            <a:avLst/>
          </a:prstGeom>
        </p:spPr>
        <p:txBody>
          <a:bodyPr/>
          <a:lstStyle>
            <a:lvl1pPr algn="ctr">
              <a:defRPr sz="1800" b="1" i="0" cap="none" baseline="0">
                <a:solidFill>
                  <a:srgbClr val="00206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33209621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4128" y="1174799"/>
            <a:ext cx="8476414" cy="766889"/>
          </a:xfrm>
          <a:prstGeom prst="rect">
            <a:avLst/>
          </a:prstGeom>
        </p:spPr>
        <p:txBody>
          <a:bodyPr anchor="ctr" anchorCtr="0"/>
          <a:lstStyle>
            <a:lvl1pPr>
              <a:defRPr b="1" i="0" cap="none" baseline="0">
                <a:latin typeface="ITC Franklin Gothic Heavy"/>
                <a:ea typeface="ITC Franklin Gothic Heavy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4128" y="2071134"/>
            <a:ext cx="8476414" cy="48273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2580"/>
              </a:lnSpc>
              <a:defRPr b="1" i="0" cap="none" baseline="0">
                <a:solidFill>
                  <a:srgbClr val="002060"/>
                </a:solidFill>
                <a:latin typeface="ITC Franklin Gothic Heavy"/>
                <a:ea typeface="ITC Franklin Gothic Heavy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284128" y="2717176"/>
            <a:ext cx="8476414" cy="3051445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2400" b="0" i="0" cap="none" baseline="0">
                <a:solidFill>
                  <a:schemeClr val="bg1"/>
                </a:solidFill>
                <a:latin typeface="ITC Franklin Gothic Demi"/>
                <a:ea typeface="ITC Franklin Gothic Demi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2400" b="0" i="0" cap="none" baseline="0">
                <a:solidFill>
                  <a:schemeClr val="bg1"/>
                </a:solidFill>
                <a:latin typeface="ITC Franklin Gothic Demi"/>
                <a:ea typeface="ITC Franklin Gothic Demi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600"/>
              </a:spcBef>
              <a:defRPr sz="2400" b="0" i="0" cap="none" baseline="0">
                <a:solidFill>
                  <a:schemeClr val="bg1"/>
                </a:solidFill>
                <a:latin typeface="ITC Franklin Gothic Demi"/>
                <a:ea typeface="ITC Franklin Gothic Demi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spcBef>
                <a:spcPts val="600"/>
              </a:spcBef>
              <a:defRPr sz="2400" b="0" i="0" cap="none" baseline="0">
                <a:solidFill>
                  <a:schemeClr val="bg1"/>
                </a:solidFill>
                <a:latin typeface="ITC Franklin Gothic Demi"/>
                <a:ea typeface="ITC Franklin Gothic Demi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spcBef>
                <a:spcPts val="600"/>
              </a:spcBef>
              <a:defRPr sz="2400" b="0" i="0" cap="none" baseline="0">
                <a:solidFill>
                  <a:schemeClr val="bg1"/>
                </a:solidFill>
                <a:latin typeface="ITC Franklin Gothic Demi"/>
                <a:ea typeface="ITC Franklin Gothic Demi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366657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2561133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45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US" sz="33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FE3CEA9-D7EF-41D4-829C-39E4BE3E9DB7}"/>
              </a:ext>
            </a:extLst>
          </p:cNvPr>
          <p:cNvSpPr/>
          <p:nvPr userDrawn="1"/>
        </p:nvSpPr>
        <p:spPr bwMode="ltGray">
          <a:xfrm>
            <a:off x="0" y="1"/>
            <a:ext cx="9144000" cy="932687"/>
          </a:xfrm>
          <a:prstGeom prst="rect">
            <a:avLst/>
          </a:prstGeom>
          <a:solidFill>
            <a:srgbClr val="232D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99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CA99C05-2AE7-4D9F-8120-681B0DC1C500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7098015" y="76882"/>
            <a:ext cx="1629934" cy="778924"/>
          </a:xfrm>
          <a:prstGeom prst="rect">
            <a:avLst/>
          </a:prstGeom>
        </p:spPr>
      </p:pic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924453" y="4927777"/>
            <a:ext cx="7295096" cy="16158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1050" dirty="0"/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924453" y="4193778"/>
            <a:ext cx="7295096" cy="23083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15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924453" y="3259723"/>
            <a:ext cx="7295096" cy="50783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3300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52D1344-FA00-9A4F-B397-5D9B68D3F91B}"/>
              </a:ext>
            </a:extLst>
          </p:cNvPr>
          <p:cNvSpPr txBox="1"/>
          <p:nvPr userDrawn="1"/>
        </p:nvSpPr>
        <p:spPr>
          <a:xfrm>
            <a:off x="6797233" y="6007261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262F3E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36AFC41-EF00-B940-916D-4B35BE2634CF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rcRect/>
          <a:stretch/>
        </p:blipFill>
        <p:spPr>
          <a:xfrm>
            <a:off x="7658666" y="4831507"/>
            <a:ext cx="1219590" cy="1754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954662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69"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72212"/>
            <a:ext cx="7022592" cy="73152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951964"/>
            <a:ext cx="7022592" cy="207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35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6498755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415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A8582D8-1A3A-F847-8950-ED8274BB0985}"/>
              </a:ext>
            </a:extLst>
          </p:cNvPr>
          <p:cNvSpPr txBox="1"/>
          <p:nvPr userDrawn="1"/>
        </p:nvSpPr>
        <p:spPr>
          <a:xfrm>
            <a:off x="8435340" y="539496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262F3E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98008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3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706563"/>
            <a:ext cx="2859786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6501670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1" y="415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13646295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7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3044281"/>
            <a:ext cx="3799332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6501670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1" y="415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85827892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41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US" sz="33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4580468"/>
            <a:ext cx="8311896" cy="677108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33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6501670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1" y="415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51558956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65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US" sz="255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129284" y="3611821"/>
            <a:ext cx="6885432" cy="412036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25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129284" y="4284631"/>
            <a:ext cx="6885432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6501670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415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42396826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89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2560320" y="0"/>
            <a:ext cx="6583680" cy="6858000"/>
          </a:xfrm>
          <a:prstGeom prst="rect">
            <a:avLst/>
          </a:prstGeom>
          <a:solidFill>
            <a:srgbClr val="D3D9E5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416052" y="2744370"/>
            <a:ext cx="1885950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16052" y="3659644"/>
            <a:ext cx="1885950" cy="4154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6501670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2" y="41598"/>
            <a:ext cx="1885951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3BDF6FA-3AD7-4964-981C-64671D594233}"/>
              </a:ext>
            </a:extLst>
          </p:cNvPr>
          <p:cNvGrpSpPr/>
          <p:nvPr userDrawn="1"/>
        </p:nvGrpSpPr>
        <p:grpSpPr>
          <a:xfrm>
            <a:off x="7579660" y="263596"/>
            <a:ext cx="1148288" cy="548752"/>
            <a:chOff x="10106214" y="263596"/>
            <a:chExt cx="1531050" cy="548752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B4F09271-B44D-40C5-9FA7-7BAB7787303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3422"/>
            <a:stretch/>
          </p:blipFill>
          <p:spPr bwMode="ltGray">
            <a:xfrm>
              <a:off x="10106214" y="263596"/>
              <a:ext cx="253812" cy="548752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A8582B2E-3BD5-4942-99B6-2BCBB632999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3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578"/>
            <a:stretch/>
          </p:blipFill>
          <p:spPr bwMode="ltGray">
            <a:xfrm>
              <a:off x="10360025" y="263596"/>
              <a:ext cx="1277239" cy="548752"/>
            </a:xfrm>
            <a:prstGeom prst="rect">
              <a:avLst/>
            </a:prstGeom>
          </p:spPr>
        </p:pic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9ED529A2-529B-DF44-B177-C8E98EAFDF06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rcRect/>
          <a:stretch/>
        </p:blipFill>
        <p:spPr>
          <a:xfrm>
            <a:off x="749231" y="4869779"/>
            <a:ext cx="1219590" cy="1754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466198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13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273552" y="0"/>
            <a:ext cx="5870448" cy="6858000"/>
          </a:xfrm>
          <a:prstGeom prst="rect">
            <a:avLst/>
          </a:prstGeom>
          <a:solidFill>
            <a:srgbClr val="D3D9E5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416052" y="2744370"/>
            <a:ext cx="2599182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16052" y="3659645"/>
            <a:ext cx="2599181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6501670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1" y="41598"/>
            <a:ext cx="2599183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1432785-39EC-4268-92B5-B95753FB92CF}"/>
              </a:ext>
            </a:extLst>
          </p:cNvPr>
          <p:cNvGrpSpPr/>
          <p:nvPr userDrawn="1"/>
        </p:nvGrpSpPr>
        <p:grpSpPr>
          <a:xfrm>
            <a:off x="7579660" y="263596"/>
            <a:ext cx="1148288" cy="548752"/>
            <a:chOff x="10106214" y="263596"/>
            <a:chExt cx="1531050" cy="548752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7175272A-5CD9-4281-9048-A548D130060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3422"/>
            <a:stretch/>
          </p:blipFill>
          <p:spPr bwMode="ltGray">
            <a:xfrm>
              <a:off x="10106214" y="263596"/>
              <a:ext cx="253812" cy="548752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5278CD37-1ED3-4C9C-AFB0-C48C5FB6A2E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3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578"/>
            <a:stretch/>
          </p:blipFill>
          <p:spPr bwMode="ltGray">
            <a:xfrm>
              <a:off x="10360025" y="263596"/>
              <a:ext cx="1277239" cy="548752"/>
            </a:xfrm>
            <a:prstGeom prst="rect">
              <a:avLst/>
            </a:prstGeom>
          </p:spPr>
        </p:pic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8C8CEF70-91FD-2743-9BFB-90F605638380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rcRect/>
          <a:stretch/>
        </p:blipFill>
        <p:spPr>
          <a:xfrm>
            <a:off x="1105847" y="4869779"/>
            <a:ext cx="1219590" cy="1754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02361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37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569714" y="0"/>
            <a:ext cx="4574286" cy="6858000"/>
          </a:xfrm>
          <a:prstGeom prst="rect">
            <a:avLst/>
          </a:prstGeom>
          <a:solidFill>
            <a:srgbClr val="D3D9E5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416052" y="172212"/>
            <a:ext cx="3799332" cy="7315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16052" y="951964"/>
            <a:ext cx="3799332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6501670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1" y="415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FEC8973-5E3B-4EAF-BA26-1C9B438661C8}"/>
              </a:ext>
            </a:extLst>
          </p:cNvPr>
          <p:cNvGrpSpPr/>
          <p:nvPr userDrawn="1"/>
        </p:nvGrpSpPr>
        <p:grpSpPr>
          <a:xfrm>
            <a:off x="7579660" y="263596"/>
            <a:ext cx="1148288" cy="548752"/>
            <a:chOff x="10106214" y="263596"/>
            <a:chExt cx="1531050" cy="548752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A47DBC4A-D977-4988-8F49-55DEB85A0E9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3422"/>
            <a:stretch/>
          </p:blipFill>
          <p:spPr bwMode="ltGray">
            <a:xfrm>
              <a:off x="10106214" y="263596"/>
              <a:ext cx="253812" cy="548752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B9CCC9C2-DB72-4DDD-9833-99B2A83A36C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3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578"/>
            <a:stretch/>
          </p:blipFill>
          <p:spPr bwMode="ltGray">
            <a:xfrm>
              <a:off x="10360025" y="263596"/>
              <a:ext cx="1277239" cy="548752"/>
            </a:xfrm>
            <a:prstGeom prst="rect">
              <a:avLst/>
            </a:prstGeom>
          </p:spPr>
        </p:pic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C40571A4-B50F-2C48-98A4-930D05F6FBBC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rcRect/>
          <a:stretch/>
        </p:blipFill>
        <p:spPr>
          <a:xfrm>
            <a:off x="415481" y="4869779"/>
            <a:ext cx="1219590" cy="1754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601498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61"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72212"/>
            <a:ext cx="5225796" cy="7315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5872734" y="0"/>
            <a:ext cx="3271266" cy="6858000"/>
          </a:xfrm>
          <a:prstGeom prst="rect">
            <a:avLst/>
          </a:prstGeom>
          <a:solidFill>
            <a:srgbClr val="D3D9E5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16052" y="951964"/>
            <a:ext cx="5225796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6501670"/>
            <a:ext cx="5225797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1" y="415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D7916D3-FA92-498E-8937-CF3F8C58DF2F}"/>
              </a:ext>
            </a:extLst>
          </p:cNvPr>
          <p:cNvGrpSpPr/>
          <p:nvPr userDrawn="1"/>
        </p:nvGrpSpPr>
        <p:grpSpPr>
          <a:xfrm>
            <a:off x="7579660" y="263596"/>
            <a:ext cx="1148288" cy="548752"/>
            <a:chOff x="10106214" y="263596"/>
            <a:chExt cx="1531050" cy="548752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17A82D96-F7FF-4033-A4D0-D085E578059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3422"/>
            <a:stretch/>
          </p:blipFill>
          <p:spPr bwMode="ltGray">
            <a:xfrm>
              <a:off x="10106214" y="263596"/>
              <a:ext cx="253812" cy="548752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4B1DB27C-9E02-462B-B873-3DEA07FB1DC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3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578"/>
            <a:stretch/>
          </p:blipFill>
          <p:spPr bwMode="ltGray">
            <a:xfrm>
              <a:off x="10360025" y="263596"/>
              <a:ext cx="1277239" cy="548752"/>
            </a:xfrm>
            <a:prstGeom prst="rect">
              <a:avLst/>
            </a:prstGeom>
          </p:spPr>
        </p:pic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78F0EF9D-BD93-EC4F-99F5-EB4F9C32083D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rcRect/>
          <a:stretch/>
        </p:blipFill>
        <p:spPr>
          <a:xfrm>
            <a:off x="415481" y="4869779"/>
            <a:ext cx="1219590" cy="1754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189709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85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586062" y="0"/>
            <a:ext cx="2557938" cy="6858000"/>
          </a:xfrm>
          <a:prstGeom prst="rect">
            <a:avLst/>
          </a:prstGeom>
          <a:solidFill>
            <a:srgbClr val="D3D9E5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416052" y="172212"/>
            <a:ext cx="5939028" cy="7315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16052" y="951964"/>
            <a:ext cx="5939028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6501670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1" y="415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E8B6213-5021-4E77-8185-09DC6C57C1AF}"/>
              </a:ext>
            </a:extLst>
          </p:cNvPr>
          <p:cNvGrpSpPr/>
          <p:nvPr userDrawn="1"/>
        </p:nvGrpSpPr>
        <p:grpSpPr>
          <a:xfrm>
            <a:off x="7579660" y="263596"/>
            <a:ext cx="1148288" cy="548752"/>
            <a:chOff x="10106214" y="263596"/>
            <a:chExt cx="1531050" cy="548752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BA14EC51-ADA2-41B1-B4FC-9D555C01F96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3422"/>
            <a:stretch/>
          </p:blipFill>
          <p:spPr bwMode="ltGray">
            <a:xfrm>
              <a:off x="10106214" y="263596"/>
              <a:ext cx="253812" cy="548752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63C8DD2B-24D8-45B4-9AAA-BC465C2A0DF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3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578"/>
            <a:stretch/>
          </p:blipFill>
          <p:spPr bwMode="ltGray">
            <a:xfrm>
              <a:off x="10360025" y="263596"/>
              <a:ext cx="1277239" cy="548752"/>
            </a:xfrm>
            <a:prstGeom prst="rect">
              <a:avLst/>
            </a:prstGeom>
          </p:spPr>
        </p:pic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1BA0FDEE-666F-2B47-B890-87D2CC8C96B4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rcRect/>
          <a:stretch/>
        </p:blipFill>
        <p:spPr>
          <a:xfrm>
            <a:off x="415481" y="4869779"/>
            <a:ext cx="1219590" cy="1754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673247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9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0F6A445-103F-4C85-BAEE-F74686212E19}"/>
              </a:ext>
            </a:extLst>
          </p:cNvPr>
          <p:cNvSpPr/>
          <p:nvPr userDrawn="1"/>
        </p:nvSpPr>
        <p:spPr bwMode="ltGray">
          <a:xfrm>
            <a:off x="0" y="1"/>
            <a:ext cx="9144000" cy="932687"/>
          </a:xfrm>
          <a:prstGeom prst="rect">
            <a:avLst/>
          </a:prstGeom>
          <a:solidFill>
            <a:srgbClr val="232D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99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FF25EA3-1EC6-43F6-9FEF-B688A514B043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7579660" y="263596"/>
            <a:ext cx="1148288" cy="548752"/>
          </a:xfrm>
          <a:prstGeom prst="rect">
            <a:avLst/>
          </a:prstGeom>
        </p:spPr>
      </p:pic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75171"/>
            <a:ext cx="7022592" cy="73152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6501670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1" y="415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160C1E1-1081-8A48-9847-C6006F263F50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rcRect/>
          <a:stretch/>
        </p:blipFill>
        <p:spPr>
          <a:xfrm>
            <a:off x="7544009" y="4826930"/>
            <a:ext cx="1219590" cy="1754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04471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3106" y="1700796"/>
            <a:ext cx="8229600" cy="1143000"/>
          </a:xfrm>
          <a:prstGeom prst="rect">
            <a:avLst/>
          </a:prstGeom>
        </p:spPr>
        <p:txBody>
          <a:bodyPr anchor="ctr" anchorCtr="0"/>
          <a:lstStyle>
            <a:lvl1pPr algn="l">
              <a:defRPr b="1" i="0" cap="none" baseline="0">
                <a:solidFill>
                  <a:srgbClr val="232D4B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712788" y="3392489"/>
            <a:ext cx="8139112" cy="284342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lnSpc>
                <a:spcPts val="1760"/>
              </a:lnSpc>
              <a:defRPr sz="1800" b="0" i="0" cap="none" baseline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1760"/>
              </a:lnSpc>
              <a:defRPr sz="1800" b="0" i="0" cap="none" baseline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1760"/>
              </a:lnSpc>
              <a:defRPr sz="1800" b="0" i="0" cap="none" baseline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1760"/>
              </a:lnSpc>
              <a:defRPr sz="1800" b="0" i="0" cap="none" baseline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1760"/>
              </a:lnSpc>
              <a:defRPr sz="1800" b="0" i="0" cap="none" baseline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713106" y="2929089"/>
            <a:ext cx="8229600" cy="48273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2580"/>
              </a:lnSpc>
              <a:defRPr b="1" i="0" cap="none" baseline="0">
                <a:solidFill>
                  <a:srgbClr val="232D4B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/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3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84DEF5DF-B77A-4F53-BEC9-72095D741BA5}"/>
              </a:ext>
            </a:extLst>
          </p:cNvPr>
          <p:cNvSpPr/>
          <p:nvPr userDrawn="1"/>
        </p:nvSpPr>
        <p:spPr bwMode="ltGray">
          <a:xfrm>
            <a:off x="0" y="1"/>
            <a:ext cx="9144000" cy="932687"/>
          </a:xfrm>
          <a:prstGeom prst="rect">
            <a:avLst/>
          </a:prstGeom>
          <a:solidFill>
            <a:srgbClr val="232D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99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8EBE437-ADD5-4859-A116-2989CA42FFF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7579660" y="263596"/>
            <a:ext cx="1148288" cy="548752"/>
          </a:xfrm>
          <a:prstGeom prst="rect">
            <a:avLst/>
          </a:prstGeom>
        </p:spPr>
      </p:pic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16052" y="6501670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416051" y="415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F4AF1D5-E1C1-984C-9410-7C8C6159D42A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rcRect/>
          <a:stretch/>
        </p:blipFill>
        <p:spPr>
          <a:xfrm>
            <a:off x="7544009" y="4826930"/>
            <a:ext cx="1219590" cy="1754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88119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57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16052" y="6501670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DDBD6CA-366F-4CED-ACD4-4C95FFF69BCD}"/>
              </a:ext>
            </a:extLst>
          </p:cNvPr>
          <p:cNvGrpSpPr/>
          <p:nvPr userDrawn="1"/>
        </p:nvGrpSpPr>
        <p:grpSpPr>
          <a:xfrm>
            <a:off x="2871181" y="2616200"/>
            <a:ext cx="3401639" cy="1625600"/>
            <a:chOff x="10106214" y="263596"/>
            <a:chExt cx="1531050" cy="548752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A62DECE0-1718-4A88-99DE-D85AF8CD0A3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3422"/>
            <a:stretch/>
          </p:blipFill>
          <p:spPr bwMode="ltGray">
            <a:xfrm>
              <a:off x="10106214" y="263596"/>
              <a:ext cx="253812" cy="548752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88C7F3DE-EC11-4B57-B7DC-C64A975FB20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578"/>
            <a:stretch/>
          </p:blipFill>
          <p:spPr bwMode="ltGray">
            <a:xfrm>
              <a:off x="10360025" y="263596"/>
              <a:ext cx="1277239" cy="5487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1781041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/>
          <p:cNvSpPr>
            <a:spLocks noGrp="1"/>
          </p:cNvSpPr>
          <p:nvPr>
            <p:ph type="title" hasCustomPrompt="1"/>
          </p:nvPr>
        </p:nvSpPr>
        <p:spPr>
          <a:xfrm>
            <a:off x="0" y="2106145"/>
            <a:ext cx="9127098" cy="1325563"/>
          </a:xfrm>
          <a:prstGeom prst="rect">
            <a:avLst/>
          </a:prstGeom>
        </p:spPr>
        <p:txBody>
          <a:bodyPr/>
          <a:lstStyle>
            <a:lvl1pPr algn="ctr">
              <a:defRPr b="1" i="0" cap="none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3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3687762"/>
            <a:ext cx="9127098" cy="599425"/>
          </a:xfrm>
          <a:prstGeom prst="rect">
            <a:avLst/>
          </a:prstGeom>
        </p:spPr>
        <p:txBody>
          <a:bodyPr/>
          <a:lstStyle>
            <a:lvl1pPr algn="ctr">
              <a:defRPr sz="2800" b="1" i="0" cap="none" baseline="0">
                <a:solidFill>
                  <a:srgbClr val="00206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</a:t>
            </a:r>
            <a:r>
              <a:rPr lang="en-US" dirty="0" smtClean="0"/>
              <a:t>Presenter’s </a:t>
            </a:r>
            <a:r>
              <a:rPr lang="en-US" dirty="0"/>
              <a:t>Name</a:t>
            </a:r>
          </a:p>
        </p:txBody>
      </p:sp>
      <p:sp>
        <p:nvSpPr>
          <p:cNvPr id="4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4287187"/>
            <a:ext cx="9143999" cy="584825"/>
          </a:xfrm>
          <a:prstGeom prst="rect">
            <a:avLst/>
          </a:prstGeom>
        </p:spPr>
        <p:txBody>
          <a:bodyPr/>
          <a:lstStyle>
            <a:lvl1pPr algn="ctr">
              <a:defRPr sz="1800" b="1" i="0" cap="none" baseline="0">
                <a:solidFill>
                  <a:srgbClr val="00206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345851580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4128" y="1174799"/>
            <a:ext cx="8476414" cy="766889"/>
          </a:xfrm>
          <a:prstGeom prst="rect">
            <a:avLst/>
          </a:prstGeom>
        </p:spPr>
        <p:txBody>
          <a:bodyPr anchor="ctr" anchorCtr="0"/>
          <a:lstStyle>
            <a:lvl1pPr>
              <a:defRPr b="1" i="0" cap="none" baseline="0">
                <a:latin typeface="ITC Franklin Gothic Heavy"/>
                <a:ea typeface="ITC Franklin Gothic Heavy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4128" y="2071134"/>
            <a:ext cx="8476414" cy="48273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2580"/>
              </a:lnSpc>
              <a:defRPr b="1" i="0" cap="none" baseline="0">
                <a:solidFill>
                  <a:srgbClr val="002060"/>
                </a:solidFill>
                <a:latin typeface="ITC Franklin Gothic Heavy"/>
                <a:ea typeface="ITC Franklin Gothic Heavy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284128" y="2717176"/>
            <a:ext cx="8476414" cy="3051445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2400" b="0" i="0" cap="none" baseline="0">
                <a:solidFill>
                  <a:schemeClr val="bg1"/>
                </a:solidFill>
                <a:latin typeface="ITC Franklin Gothic Demi"/>
                <a:ea typeface="ITC Franklin Gothic Demi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2400" b="0" i="0" cap="none" baseline="0">
                <a:solidFill>
                  <a:schemeClr val="bg1"/>
                </a:solidFill>
                <a:latin typeface="ITC Franklin Gothic Demi"/>
                <a:ea typeface="ITC Franklin Gothic Demi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600"/>
              </a:spcBef>
              <a:defRPr sz="2400" b="0" i="0" cap="none" baseline="0">
                <a:solidFill>
                  <a:schemeClr val="bg1"/>
                </a:solidFill>
                <a:latin typeface="ITC Franklin Gothic Demi"/>
                <a:ea typeface="ITC Franklin Gothic Demi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spcBef>
                <a:spcPts val="600"/>
              </a:spcBef>
              <a:defRPr sz="2400" b="0" i="0" cap="none" baseline="0">
                <a:solidFill>
                  <a:schemeClr val="bg1"/>
                </a:solidFill>
                <a:latin typeface="ITC Franklin Gothic Demi"/>
                <a:ea typeface="ITC Franklin Gothic Demi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spcBef>
                <a:spcPts val="600"/>
              </a:spcBef>
              <a:defRPr sz="2400" b="0" i="0" cap="none" baseline="0">
                <a:solidFill>
                  <a:schemeClr val="bg1"/>
                </a:solidFill>
                <a:latin typeface="ITC Franklin Gothic Demi"/>
                <a:ea typeface="ITC Franklin Gothic Demi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3011988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403594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78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US" sz="3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FE3CEA9-D7EF-41D4-829C-39E4BE3E9DB7}"/>
              </a:ext>
            </a:extLst>
          </p:cNvPr>
          <p:cNvSpPr/>
          <p:nvPr userDrawn="1"/>
        </p:nvSpPr>
        <p:spPr bwMode="ltGray">
          <a:xfrm>
            <a:off x="0" y="1"/>
            <a:ext cx="9144000" cy="932687"/>
          </a:xfrm>
          <a:prstGeom prst="rect">
            <a:avLst/>
          </a:prstGeom>
          <a:solidFill>
            <a:srgbClr val="232D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9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CA99C05-2AE7-4D9F-8120-681B0DC1C500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7098015" y="76882"/>
            <a:ext cx="1629934" cy="778924"/>
          </a:xfrm>
          <a:prstGeom prst="rect">
            <a:avLst/>
          </a:prstGeom>
        </p:spPr>
      </p:pic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924453" y="4927777"/>
            <a:ext cx="7295096" cy="16158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1050" dirty="0"/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924453" y="4193778"/>
            <a:ext cx="7295096" cy="23083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15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924453" y="3259723"/>
            <a:ext cx="7295096" cy="50783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3300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99922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02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72212"/>
            <a:ext cx="7022592" cy="731520"/>
          </a:xfr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951964"/>
            <a:ext cx="7022592" cy="207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35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6533379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 dirty="0">
              <a:ln>
                <a:noFill/>
              </a:ln>
              <a:solidFill>
                <a:srgbClr val="262F3E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6498755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1" y="415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5718827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26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706563"/>
            <a:ext cx="2859786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6533379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 dirty="0">
              <a:ln>
                <a:noFill/>
              </a:ln>
              <a:solidFill>
                <a:srgbClr val="262F3E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6501670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415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994734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50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3044281"/>
            <a:ext cx="3799332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6533379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 dirty="0">
              <a:ln>
                <a:noFill/>
              </a:ln>
              <a:solidFill>
                <a:srgbClr val="262F3E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6501670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415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3456883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74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US" sz="3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4580468"/>
            <a:ext cx="8311896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33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6533379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 dirty="0">
              <a:ln>
                <a:noFill/>
              </a:ln>
              <a:solidFill>
                <a:srgbClr val="262F3E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6501670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415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4607697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0" y="2106145"/>
            <a:ext cx="9127098" cy="1325563"/>
          </a:xfrm>
          <a:prstGeom prst="rect">
            <a:avLst/>
          </a:prstGeom>
        </p:spPr>
        <p:txBody>
          <a:bodyPr/>
          <a:lstStyle>
            <a:lvl1pPr>
              <a:defRPr b="1" i="0" cap="none" baseline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presentation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3687762"/>
            <a:ext cx="9127098" cy="599425"/>
          </a:xfrm>
          <a:prstGeom prst="rect">
            <a:avLst/>
          </a:prstGeom>
        </p:spPr>
        <p:txBody>
          <a:bodyPr/>
          <a:lstStyle>
            <a:lvl1pPr algn="ctr">
              <a:defRPr sz="2800" b="1" i="0" cap="none" baseline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Presenters Nam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4287187"/>
            <a:ext cx="9143999" cy="584825"/>
          </a:xfrm>
          <a:prstGeom prst="rect">
            <a:avLst/>
          </a:prstGeom>
        </p:spPr>
        <p:txBody>
          <a:bodyPr/>
          <a:lstStyle>
            <a:lvl1pPr algn="ctr">
              <a:defRPr sz="1800" b="1" i="0" cap="none" baseline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Presentation Date</a:t>
            </a:r>
          </a:p>
        </p:txBody>
      </p:sp>
    </p:spTree>
    <p:extLst/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98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US" sz="255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129284" y="3611821"/>
            <a:ext cx="6885432" cy="412036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25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129284" y="4284631"/>
            <a:ext cx="6885432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6533379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 dirty="0">
              <a:ln>
                <a:noFill/>
              </a:ln>
              <a:solidFill>
                <a:srgbClr val="262F3E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6501670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1" y="415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66554257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22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2560320" y="0"/>
            <a:ext cx="6583680" cy="6858000"/>
          </a:xfrm>
          <a:prstGeom prst="rect">
            <a:avLst/>
          </a:prstGeom>
          <a:solidFill>
            <a:srgbClr val="D3D9E5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6533379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 dirty="0">
              <a:ln>
                <a:noFill/>
              </a:ln>
              <a:solidFill>
                <a:srgbClr val="262F3E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6052" y="2744370"/>
            <a:ext cx="188595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6052" y="3659644"/>
            <a:ext cx="1885950" cy="4154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6501670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2" y="41598"/>
            <a:ext cx="1885951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3BDF6FA-3AD7-4964-981C-64671D594233}"/>
              </a:ext>
            </a:extLst>
          </p:cNvPr>
          <p:cNvGrpSpPr/>
          <p:nvPr userDrawn="1"/>
        </p:nvGrpSpPr>
        <p:grpSpPr>
          <a:xfrm>
            <a:off x="7579660" y="263596"/>
            <a:ext cx="1148288" cy="548752"/>
            <a:chOff x="10106214" y="263596"/>
            <a:chExt cx="1531050" cy="548752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B4F09271-B44D-40C5-9FA7-7BAB7787303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3422"/>
            <a:stretch/>
          </p:blipFill>
          <p:spPr bwMode="ltGray">
            <a:xfrm>
              <a:off x="10106214" y="263596"/>
              <a:ext cx="253812" cy="548752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A8582B2E-3BD5-4942-99B6-2BCBB632999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4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578"/>
            <a:stretch/>
          </p:blipFill>
          <p:spPr bwMode="ltGray">
            <a:xfrm>
              <a:off x="10360025" y="263596"/>
              <a:ext cx="1277239" cy="5487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7243967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6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273552" y="0"/>
            <a:ext cx="5870448" cy="6858000"/>
          </a:xfrm>
          <a:prstGeom prst="rect">
            <a:avLst/>
          </a:prstGeom>
          <a:solidFill>
            <a:srgbClr val="D3D9E5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6533379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 dirty="0">
              <a:ln>
                <a:noFill/>
              </a:ln>
              <a:solidFill>
                <a:srgbClr val="262F3E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6052" y="2744370"/>
            <a:ext cx="2599182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6052" y="3659645"/>
            <a:ext cx="2599181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6501670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1" y="41598"/>
            <a:ext cx="2599183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1432785-39EC-4268-92B5-B95753FB92CF}"/>
              </a:ext>
            </a:extLst>
          </p:cNvPr>
          <p:cNvGrpSpPr/>
          <p:nvPr userDrawn="1"/>
        </p:nvGrpSpPr>
        <p:grpSpPr>
          <a:xfrm>
            <a:off x="7579660" y="263596"/>
            <a:ext cx="1148288" cy="548752"/>
            <a:chOff x="10106214" y="263596"/>
            <a:chExt cx="1531050" cy="548752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7175272A-5CD9-4281-9048-A548D130060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3422"/>
            <a:stretch/>
          </p:blipFill>
          <p:spPr bwMode="ltGray">
            <a:xfrm>
              <a:off x="10106214" y="263596"/>
              <a:ext cx="253812" cy="548752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5278CD37-1ED3-4C9C-AFB0-C48C5FB6A2E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4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578"/>
            <a:stretch/>
          </p:blipFill>
          <p:spPr bwMode="ltGray">
            <a:xfrm>
              <a:off x="10360025" y="263596"/>
              <a:ext cx="1277239" cy="5487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101473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70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569714" y="0"/>
            <a:ext cx="4574286" cy="6858000"/>
          </a:xfrm>
          <a:prstGeom prst="rect">
            <a:avLst/>
          </a:prstGeom>
          <a:solidFill>
            <a:srgbClr val="D3D9E5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6533379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 dirty="0">
              <a:ln>
                <a:noFill/>
              </a:ln>
              <a:solidFill>
                <a:srgbClr val="262F3E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6052" y="172212"/>
            <a:ext cx="3799332" cy="73152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6052" y="951964"/>
            <a:ext cx="3799332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6501670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1" y="415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FEC8973-5E3B-4EAF-BA26-1C9B438661C8}"/>
              </a:ext>
            </a:extLst>
          </p:cNvPr>
          <p:cNvGrpSpPr/>
          <p:nvPr userDrawn="1"/>
        </p:nvGrpSpPr>
        <p:grpSpPr>
          <a:xfrm>
            <a:off x="7579660" y="263596"/>
            <a:ext cx="1148288" cy="548752"/>
            <a:chOff x="10106214" y="263596"/>
            <a:chExt cx="1531050" cy="548752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A47DBC4A-D977-4988-8F49-55DEB85A0E9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3422"/>
            <a:stretch/>
          </p:blipFill>
          <p:spPr bwMode="ltGray">
            <a:xfrm>
              <a:off x="10106214" y="263596"/>
              <a:ext cx="253812" cy="548752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B9CCC9C2-DB72-4DDD-9833-99B2A83A36C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4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578"/>
            <a:stretch/>
          </p:blipFill>
          <p:spPr bwMode="ltGray">
            <a:xfrm>
              <a:off x="10360025" y="263596"/>
              <a:ext cx="1277239" cy="5487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6480115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94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72212"/>
            <a:ext cx="5225796" cy="73152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5872734" y="0"/>
            <a:ext cx="3271266" cy="6858000"/>
          </a:xfrm>
          <a:prstGeom prst="rect">
            <a:avLst/>
          </a:prstGeom>
          <a:solidFill>
            <a:srgbClr val="D3D9E5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6533379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 dirty="0">
              <a:ln>
                <a:noFill/>
              </a:ln>
              <a:solidFill>
                <a:srgbClr val="262F3E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6052" y="951964"/>
            <a:ext cx="5225796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6501670"/>
            <a:ext cx="5225797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1" y="415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D7916D3-FA92-498E-8937-CF3F8C58DF2F}"/>
              </a:ext>
            </a:extLst>
          </p:cNvPr>
          <p:cNvGrpSpPr/>
          <p:nvPr userDrawn="1"/>
        </p:nvGrpSpPr>
        <p:grpSpPr>
          <a:xfrm>
            <a:off x="7579660" y="263596"/>
            <a:ext cx="1148288" cy="548752"/>
            <a:chOff x="10106214" y="263596"/>
            <a:chExt cx="1531050" cy="548752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17A82D96-F7FF-4033-A4D0-D085E578059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3422"/>
            <a:stretch/>
          </p:blipFill>
          <p:spPr bwMode="ltGray">
            <a:xfrm>
              <a:off x="10106214" y="263596"/>
              <a:ext cx="253812" cy="548752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4B1DB27C-9E02-462B-B873-3DEA07FB1DC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4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578"/>
            <a:stretch/>
          </p:blipFill>
          <p:spPr bwMode="ltGray">
            <a:xfrm>
              <a:off x="10360025" y="263596"/>
              <a:ext cx="1277239" cy="5487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4319089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18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586062" y="0"/>
            <a:ext cx="2557938" cy="6858000"/>
          </a:xfrm>
          <a:prstGeom prst="rect">
            <a:avLst/>
          </a:prstGeom>
          <a:solidFill>
            <a:srgbClr val="D3D9E5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6533379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 dirty="0">
              <a:ln>
                <a:noFill/>
              </a:ln>
              <a:solidFill>
                <a:srgbClr val="262F3E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6052" y="172212"/>
            <a:ext cx="5939028" cy="73152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6052" y="951964"/>
            <a:ext cx="5939028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6501670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1" y="415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E8B6213-5021-4E77-8185-09DC6C57C1AF}"/>
              </a:ext>
            </a:extLst>
          </p:cNvPr>
          <p:cNvGrpSpPr/>
          <p:nvPr userDrawn="1"/>
        </p:nvGrpSpPr>
        <p:grpSpPr>
          <a:xfrm>
            <a:off x="7579660" y="263596"/>
            <a:ext cx="1148288" cy="548752"/>
            <a:chOff x="10106214" y="263596"/>
            <a:chExt cx="1531050" cy="548752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BA14EC51-ADA2-41B1-B4FC-9D555C01F96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3422"/>
            <a:stretch/>
          </p:blipFill>
          <p:spPr bwMode="ltGray">
            <a:xfrm>
              <a:off x="10106214" y="263596"/>
              <a:ext cx="253812" cy="548752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63C8DD2B-24D8-45B4-9AAA-BC465C2A0DF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4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578"/>
            <a:stretch/>
          </p:blipFill>
          <p:spPr bwMode="ltGray">
            <a:xfrm>
              <a:off x="10360025" y="263596"/>
              <a:ext cx="1277239" cy="5487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5099421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42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0F6A445-103F-4C85-BAEE-F74686212E19}"/>
              </a:ext>
            </a:extLst>
          </p:cNvPr>
          <p:cNvSpPr/>
          <p:nvPr userDrawn="1"/>
        </p:nvSpPr>
        <p:spPr bwMode="ltGray">
          <a:xfrm>
            <a:off x="0" y="1"/>
            <a:ext cx="9144000" cy="932687"/>
          </a:xfrm>
          <a:prstGeom prst="rect">
            <a:avLst/>
          </a:prstGeom>
          <a:solidFill>
            <a:srgbClr val="232D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9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FF25EA3-1EC6-43F6-9FEF-B688A514B043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7579660" y="263596"/>
            <a:ext cx="1148288" cy="548752"/>
          </a:xfrm>
          <a:prstGeom prst="rect">
            <a:avLst/>
          </a:prstGeom>
        </p:spPr>
      </p:pic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8484394" y="6533379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 dirty="0">
              <a:ln>
                <a:noFill/>
              </a:ln>
              <a:solidFill>
                <a:srgbClr val="262F3E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416052" y="175171"/>
            <a:ext cx="7022592" cy="73152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6501670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415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78821526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66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84DEF5DF-B77A-4F53-BEC9-72095D741BA5}"/>
              </a:ext>
            </a:extLst>
          </p:cNvPr>
          <p:cNvSpPr/>
          <p:nvPr userDrawn="1"/>
        </p:nvSpPr>
        <p:spPr bwMode="ltGray">
          <a:xfrm>
            <a:off x="0" y="1"/>
            <a:ext cx="9144000" cy="932687"/>
          </a:xfrm>
          <a:prstGeom prst="rect">
            <a:avLst/>
          </a:prstGeom>
          <a:solidFill>
            <a:srgbClr val="232D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9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8EBE437-ADD5-4859-A116-2989CA42FFFB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7579660" y="263596"/>
            <a:ext cx="1148288" cy="548752"/>
          </a:xfrm>
          <a:prstGeom prst="rect">
            <a:avLst/>
          </a:prstGeom>
        </p:spPr>
      </p:pic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8484394" y="6533379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 dirty="0">
              <a:ln>
                <a:noFill/>
              </a:ln>
              <a:solidFill>
                <a:srgbClr val="262F3E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6501670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415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51200251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9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16052" y="6501670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DDBD6CA-366F-4CED-ACD4-4C95FFF69BCD}"/>
              </a:ext>
            </a:extLst>
          </p:cNvPr>
          <p:cNvGrpSpPr/>
          <p:nvPr userDrawn="1"/>
        </p:nvGrpSpPr>
        <p:grpSpPr>
          <a:xfrm>
            <a:off x="2871181" y="2616200"/>
            <a:ext cx="3401639" cy="1625600"/>
            <a:chOff x="10106214" y="263596"/>
            <a:chExt cx="1531050" cy="548752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A62DECE0-1718-4A88-99DE-D85AF8CD0A3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3422"/>
            <a:stretch/>
          </p:blipFill>
          <p:spPr bwMode="ltGray">
            <a:xfrm>
              <a:off x="10106214" y="263596"/>
              <a:ext cx="253812" cy="548752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88C7F3DE-EC11-4B57-B7DC-C64A975FB20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578"/>
            <a:stretch/>
          </p:blipFill>
          <p:spPr bwMode="ltGray">
            <a:xfrm>
              <a:off x="10360025" y="263596"/>
              <a:ext cx="1277239" cy="5487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7587338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4071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3106" y="1700796"/>
            <a:ext cx="8229600" cy="1143000"/>
          </a:xfrm>
          <a:prstGeom prst="rect">
            <a:avLst/>
          </a:prstGeom>
        </p:spPr>
        <p:txBody>
          <a:bodyPr anchor="ctr" anchorCtr="0"/>
          <a:lstStyle>
            <a:lvl1pPr>
              <a:defRPr b="1" i="0" cap="none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3106" y="2929089"/>
            <a:ext cx="8229600" cy="48273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2580"/>
              </a:lnSpc>
              <a:defRPr b="1" i="0" cap="none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712788" y="3392489"/>
            <a:ext cx="8229918" cy="284342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lnSpc>
                <a:spcPts val="1760"/>
              </a:lnSpc>
              <a:defRPr sz="1800" b="0" i="0" cap="none" baseline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1760"/>
              </a:lnSpc>
              <a:defRPr sz="1800" b="0" i="0" cap="none" baseline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1760"/>
              </a:lnSpc>
              <a:defRPr sz="1800" b="0" i="0" cap="none" baseline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1760"/>
              </a:lnSpc>
              <a:defRPr sz="1800" b="0" i="0" cap="none" baseline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1760"/>
              </a:lnSpc>
              <a:defRPr sz="1800" b="0" i="0" cap="none" baseline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6381591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0" y="2106147"/>
            <a:ext cx="9127098" cy="1325563"/>
          </a:xfrm>
          <a:prstGeom prst="rect">
            <a:avLst/>
          </a:prstGeom>
        </p:spPr>
        <p:txBody>
          <a:bodyPr/>
          <a:lstStyle>
            <a:lvl1pPr>
              <a:defRPr b="1" i="0" cap="none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presentation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3687764"/>
            <a:ext cx="9127098" cy="599425"/>
          </a:xfrm>
          <a:prstGeom prst="rect">
            <a:avLst/>
          </a:prstGeom>
        </p:spPr>
        <p:txBody>
          <a:bodyPr/>
          <a:lstStyle>
            <a:lvl1pPr algn="ctr">
              <a:defRPr sz="2100" b="1" i="0" cap="none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Presenters Nam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4287189"/>
            <a:ext cx="9143999" cy="584825"/>
          </a:xfrm>
          <a:prstGeom prst="rect">
            <a:avLst/>
          </a:prstGeom>
        </p:spPr>
        <p:txBody>
          <a:bodyPr/>
          <a:lstStyle>
            <a:lvl1pPr algn="ctr">
              <a:defRPr sz="1350" b="1" i="0" cap="none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257933093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/>
          <p:cNvSpPr>
            <a:spLocks noGrp="1"/>
          </p:cNvSpPr>
          <p:nvPr>
            <p:ph type="title" hasCustomPrompt="1"/>
          </p:nvPr>
        </p:nvSpPr>
        <p:spPr>
          <a:xfrm>
            <a:off x="0" y="2106145"/>
            <a:ext cx="9127098" cy="1325563"/>
          </a:xfrm>
          <a:prstGeom prst="rect">
            <a:avLst/>
          </a:prstGeom>
        </p:spPr>
        <p:txBody>
          <a:bodyPr/>
          <a:lstStyle>
            <a:lvl1pPr algn="ctr">
              <a:defRPr b="1" i="0" cap="none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3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3687762"/>
            <a:ext cx="9127098" cy="599425"/>
          </a:xfrm>
          <a:prstGeom prst="rect">
            <a:avLst/>
          </a:prstGeom>
        </p:spPr>
        <p:txBody>
          <a:bodyPr/>
          <a:lstStyle>
            <a:lvl1pPr algn="ctr">
              <a:defRPr sz="2800" b="1" i="0" cap="none" baseline="0">
                <a:solidFill>
                  <a:srgbClr val="00206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</a:t>
            </a:r>
            <a:r>
              <a:rPr lang="en-US" dirty="0" smtClean="0"/>
              <a:t>Presenter’s </a:t>
            </a:r>
            <a:r>
              <a:rPr lang="en-US" dirty="0"/>
              <a:t>Name</a:t>
            </a:r>
          </a:p>
        </p:txBody>
      </p:sp>
      <p:sp>
        <p:nvSpPr>
          <p:cNvPr id="4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4287187"/>
            <a:ext cx="9143999" cy="584825"/>
          </a:xfrm>
          <a:prstGeom prst="rect">
            <a:avLst/>
          </a:prstGeom>
        </p:spPr>
        <p:txBody>
          <a:bodyPr/>
          <a:lstStyle>
            <a:lvl1pPr algn="ctr">
              <a:defRPr sz="1800" b="1" i="0" cap="none" baseline="0">
                <a:solidFill>
                  <a:srgbClr val="00206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259558626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4128" y="1174799"/>
            <a:ext cx="8476414" cy="766889"/>
          </a:xfrm>
          <a:prstGeom prst="rect">
            <a:avLst/>
          </a:prstGeom>
        </p:spPr>
        <p:txBody>
          <a:bodyPr anchor="ctr" anchorCtr="0"/>
          <a:lstStyle>
            <a:lvl1pPr>
              <a:defRPr b="1" i="0" cap="none" baseline="0">
                <a:latin typeface="ITC Franklin Gothic Heavy"/>
                <a:ea typeface="ITC Franklin Gothic Heavy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4128" y="2071134"/>
            <a:ext cx="8476414" cy="48273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2580"/>
              </a:lnSpc>
              <a:defRPr b="1" i="0" cap="none" baseline="0">
                <a:solidFill>
                  <a:srgbClr val="002060"/>
                </a:solidFill>
                <a:latin typeface="ITC Franklin Gothic Heavy"/>
                <a:ea typeface="ITC Franklin Gothic Heavy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284128" y="2717176"/>
            <a:ext cx="8476414" cy="3051445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2400" b="0" i="0" cap="none" baseline="0">
                <a:solidFill>
                  <a:schemeClr val="bg1"/>
                </a:solidFill>
                <a:latin typeface="ITC Franklin Gothic Demi"/>
                <a:ea typeface="ITC Franklin Gothic Demi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2400" b="0" i="0" cap="none" baseline="0">
                <a:solidFill>
                  <a:schemeClr val="bg1"/>
                </a:solidFill>
                <a:latin typeface="ITC Franklin Gothic Demi"/>
                <a:ea typeface="ITC Franklin Gothic Demi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600"/>
              </a:spcBef>
              <a:defRPr sz="2400" b="0" i="0" cap="none" baseline="0">
                <a:solidFill>
                  <a:schemeClr val="bg1"/>
                </a:solidFill>
                <a:latin typeface="ITC Franklin Gothic Demi"/>
                <a:ea typeface="ITC Franklin Gothic Demi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spcBef>
                <a:spcPts val="600"/>
              </a:spcBef>
              <a:defRPr sz="2400" b="0" i="0" cap="none" baseline="0">
                <a:solidFill>
                  <a:schemeClr val="bg1"/>
                </a:solidFill>
                <a:latin typeface="ITC Franklin Gothic Demi"/>
                <a:ea typeface="ITC Franklin Gothic Demi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spcBef>
                <a:spcPts val="600"/>
              </a:spcBef>
              <a:defRPr sz="2400" b="0" i="0" cap="none" baseline="0">
                <a:solidFill>
                  <a:schemeClr val="bg1"/>
                </a:solidFill>
                <a:latin typeface="ITC Franklin Gothic Demi"/>
                <a:ea typeface="ITC Franklin Gothic Demi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9811833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045205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9154203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196282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0" y="2106145"/>
            <a:ext cx="9127098" cy="1325563"/>
          </a:xfrm>
          <a:prstGeom prst="rect">
            <a:avLst/>
          </a:prstGeom>
        </p:spPr>
        <p:txBody>
          <a:bodyPr/>
          <a:lstStyle>
            <a:lvl1pPr>
              <a:defRPr b="1" i="0" cap="none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presentation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3687762"/>
            <a:ext cx="9127098" cy="599425"/>
          </a:xfrm>
          <a:prstGeom prst="rect">
            <a:avLst/>
          </a:prstGeom>
        </p:spPr>
        <p:txBody>
          <a:bodyPr/>
          <a:lstStyle>
            <a:lvl1pPr algn="ctr">
              <a:defRPr sz="2800" b="1" i="0" cap="none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Presenters Nam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4287187"/>
            <a:ext cx="9143999" cy="584825"/>
          </a:xfrm>
          <a:prstGeom prst="rect">
            <a:avLst/>
          </a:prstGeom>
        </p:spPr>
        <p:txBody>
          <a:bodyPr/>
          <a:lstStyle>
            <a:lvl1pPr algn="ctr">
              <a:defRPr sz="1800" b="1" i="0" cap="none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192025265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28097" y="1011248"/>
            <a:ext cx="8012491" cy="1143000"/>
          </a:xfrm>
          <a:prstGeom prst="rect">
            <a:avLst/>
          </a:prstGeom>
        </p:spPr>
        <p:txBody>
          <a:bodyPr anchor="ctr" anchorCtr="0"/>
          <a:lstStyle>
            <a:lvl1pPr>
              <a:defRPr b="1" i="0" cap="none" baseline="0">
                <a:latin typeface="ITC Franklin Gothic Std Med" panose="020B0604030503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728097" y="2154250"/>
            <a:ext cx="8012490" cy="48273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451"/>
              </a:lnSpc>
              <a:defRPr cap="none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712789" y="2613003"/>
            <a:ext cx="8027799" cy="3146425"/>
          </a:xfrm>
        </p:spPr>
        <p:txBody>
          <a:bodyPr anchor="t" anchorCtr="0">
            <a:noAutofit/>
          </a:bodyPr>
          <a:lstStyle>
            <a:lvl1pPr>
              <a:lnSpc>
                <a:spcPts val="990"/>
              </a:lnSpc>
              <a:defRPr sz="1500" b="0" i="0" cap="none" baseline="0">
                <a:solidFill>
                  <a:srgbClr val="232D48"/>
                </a:solidFill>
                <a:latin typeface="ITC Franklin Gothic Std Book" panose="020B0504030503020204" pitchFamily="34" charset="0"/>
                <a:ea typeface="ITC Franklin Gothic Std Book" panose="020B0504030503020204" pitchFamily="34" charset="0"/>
                <a:cs typeface="Arial" panose="020B0604020202020204" pitchFamily="34" charset="0"/>
              </a:defRPr>
            </a:lvl1pPr>
            <a:lvl2pPr>
              <a:lnSpc>
                <a:spcPts val="990"/>
              </a:lnSpc>
              <a:defRPr sz="1500" b="0" i="0" cap="none" baseline="0">
                <a:solidFill>
                  <a:srgbClr val="232D48"/>
                </a:solidFill>
                <a:latin typeface="ITC Franklin Gothic Std Book" panose="020B0504030503020204" pitchFamily="34" charset="0"/>
                <a:ea typeface="ITC Franklin Gothic Std Book" panose="020B0504030503020204" pitchFamily="34" charset="0"/>
                <a:cs typeface="Arial" panose="020B0604020202020204" pitchFamily="34" charset="0"/>
              </a:defRPr>
            </a:lvl2pPr>
            <a:lvl3pPr>
              <a:lnSpc>
                <a:spcPts val="990"/>
              </a:lnSpc>
              <a:defRPr sz="1500" b="0" i="0" cap="none" baseline="0">
                <a:solidFill>
                  <a:srgbClr val="232D48"/>
                </a:solidFill>
                <a:latin typeface="ITC Franklin Gothic Std Book" panose="020B0504030503020204" pitchFamily="34" charset="0"/>
                <a:ea typeface="ITC Franklin Gothic Std Book" panose="020B0504030503020204" pitchFamily="34" charset="0"/>
                <a:cs typeface="Arial" panose="020B0604020202020204" pitchFamily="34" charset="0"/>
              </a:defRPr>
            </a:lvl3pPr>
            <a:lvl4pPr>
              <a:lnSpc>
                <a:spcPts val="990"/>
              </a:lnSpc>
              <a:defRPr sz="1500" b="0" i="0" cap="none" baseline="0">
                <a:solidFill>
                  <a:srgbClr val="232D48"/>
                </a:solidFill>
                <a:latin typeface="ITC Franklin Gothic Std Book" panose="020B0504030503020204" pitchFamily="34" charset="0"/>
                <a:ea typeface="ITC Franklin Gothic Std Book" panose="020B0504030503020204" pitchFamily="34" charset="0"/>
                <a:cs typeface="Arial" panose="020B0604020202020204" pitchFamily="34" charset="0"/>
              </a:defRPr>
            </a:lvl4pPr>
            <a:lvl5pPr>
              <a:lnSpc>
                <a:spcPts val="990"/>
              </a:lnSpc>
              <a:defRPr sz="1500" b="0" i="0" cap="none" baseline="0">
                <a:solidFill>
                  <a:srgbClr val="232D48"/>
                </a:solidFill>
                <a:latin typeface="ITC Franklin Gothic Std Book" panose="020B0504030503020204" pitchFamily="34" charset="0"/>
                <a:ea typeface="ITC Franklin Gothic Std Book" panose="020B0504030503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4102217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368653397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F893B4-B642-4846-A4AB-E29A375050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906179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0029405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28097" y="1011248"/>
            <a:ext cx="8012491" cy="1143000"/>
          </a:xfrm>
          <a:prstGeom prst="rect">
            <a:avLst/>
          </a:prstGeom>
        </p:spPr>
        <p:txBody>
          <a:bodyPr anchor="ctr" anchorCtr="0"/>
          <a:lstStyle>
            <a:lvl1pPr>
              <a:defRPr b="1" i="0"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728097" y="2154250"/>
            <a:ext cx="8012490" cy="48273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451"/>
              </a:lnSpc>
              <a:defRPr cap="none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712789" y="2613003"/>
            <a:ext cx="8027799" cy="3146425"/>
          </a:xfrm>
        </p:spPr>
        <p:txBody>
          <a:bodyPr anchor="t" anchorCtr="0">
            <a:noAutofit/>
          </a:bodyPr>
          <a:lstStyle>
            <a:lvl1pPr>
              <a:lnSpc>
                <a:spcPts val="990"/>
              </a:lnSpc>
              <a:defRPr sz="1050" b="0" i="0" cap="none">
                <a:solidFill>
                  <a:srgbClr val="232D48"/>
                </a:solidFill>
                <a:latin typeface="ITC Franklin Gothic Std Book" panose="020B0504030503020204" pitchFamily="34" charset="0"/>
                <a:ea typeface="ITC Franklin Gothic Std Book" panose="020B0504030503020204" pitchFamily="34" charset="0"/>
                <a:cs typeface="Arial" panose="020B0604020202020204" pitchFamily="34" charset="0"/>
              </a:defRPr>
            </a:lvl1pPr>
            <a:lvl2pPr>
              <a:lnSpc>
                <a:spcPts val="990"/>
              </a:lnSpc>
              <a:defRPr sz="1050" b="0" i="0" cap="none">
                <a:solidFill>
                  <a:srgbClr val="232D48"/>
                </a:solidFill>
                <a:latin typeface="ITC Franklin Gothic Std Book" panose="020B0504030503020204" pitchFamily="34" charset="0"/>
                <a:ea typeface="ITC Franklin Gothic Std Book" panose="020B0504030503020204" pitchFamily="34" charset="0"/>
                <a:cs typeface="Arial" panose="020B0604020202020204" pitchFamily="34" charset="0"/>
              </a:defRPr>
            </a:lvl2pPr>
            <a:lvl3pPr>
              <a:lnSpc>
                <a:spcPts val="990"/>
              </a:lnSpc>
              <a:defRPr sz="1050" b="0" i="0" cap="none">
                <a:solidFill>
                  <a:srgbClr val="232D48"/>
                </a:solidFill>
                <a:latin typeface="ITC Franklin Gothic Std Book" panose="020B0504030503020204" pitchFamily="34" charset="0"/>
                <a:ea typeface="ITC Franklin Gothic Std Book" panose="020B0504030503020204" pitchFamily="34" charset="0"/>
                <a:cs typeface="Arial" panose="020B0604020202020204" pitchFamily="34" charset="0"/>
              </a:defRPr>
            </a:lvl3pPr>
            <a:lvl4pPr>
              <a:lnSpc>
                <a:spcPts val="990"/>
              </a:lnSpc>
              <a:defRPr sz="1050" b="0" i="0" cap="none">
                <a:solidFill>
                  <a:srgbClr val="232D48"/>
                </a:solidFill>
                <a:latin typeface="ITC Franklin Gothic Std Book" panose="020B0504030503020204" pitchFamily="34" charset="0"/>
                <a:ea typeface="ITC Franklin Gothic Std Book" panose="020B0504030503020204" pitchFamily="34" charset="0"/>
                <a:cs typeface="Arial" panose="020B0604020202020204" pitchFamily="34" charset="0"/>
              </a:defRPr>
            </a:lvl4pPr>
            <a:lvl5pPr>
              <a:lnSpc>
                <a:spcPts val="990"/>
              </a:lnSpc>
              <a:defRPr sz="1050" b="0" i="0" cap="none">
                <a:solidFill>
                  <a:srgbClr val="232D48"/>
                </a:solidFill>
                <a:latin typeface="ITC Franklin Gothic Std Book" panose="020B0504030503020204" pitchFamily="34" charset="0"/>
                <a:ea typeface="ITC Franklin Gothic Std Book" panose="020B0504030503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5631664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373539362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28097" y="1011248"/>
            <a:ext cx="8012491" cy="1143000"/>
          </a:xfrm>
          <a:prstGeom prst="rect">
            <a:avLst/>
          </a:prstGeom>
        </p:spPr>
        <p:txBody>
          <a:bodyPr anchor="ctr" anchorCtr="0"/>
          <a:lstStyle>
            <a:lvl1pPr>
              <a:defRPr b="1" i="0"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728097" y="2154250"/>
            <a:ext cx="8012490" cy="48273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451"/>
              </a:lnSpc>
              <a:defRPr cap="none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727779" y="2617647"/>
            <a:ext cx="8012808" cy="3146425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lnSpc>
                <a:spcPts val="990"/>
              </a:lnSpc>
              <a:defRPr sz="1200" b="0" i="0" cap="none" baseline="0">
                <a:solidFill>
                  <a:schemeClr val="bg2"/>
                </a:solidFill>
                <a:latin typeface="ITC Franklin Gothic Std Book" panose="020B0504030503020204" pitchFamily="34" charset="0"/>
                <a:ea typeface="ITC Franklin Gothic Std Book" panose="020B0504030503020204" pitchFamily="34" charset="0"/>
                <a:cs typeface="Arial" panose="020B0604020202020204" pitchFamily="34" charset="0"/>
              </a:defRPr>
            </a:lvl1pPr>
            <a:lvl2pPr>
              <a:lnSpc>
                <a:spcPts val="990"/>
              </a:lnSpc>
              <a:defRPr sz="1200" b="0" i="0" cap="none" baseline="0">
                <a:solidFill>
                  <a:schemeClr val="bg2"/>
                </a:solidFill>
                <a:latin typeface="ITC Franklin Gothic Std Book" panose="020B0504030503020204" pitchFamily="34" charset="0"/>
                <a:ea typeface="ITC Franklin Gothic Std Book" panose="020B0504030503020204" pitchFamily="34" charset="0"/>
                <a:cs typeface="Arial" panose="020B0604020202020204" pitchFamily="34" charset="0"/>
              </a:defRPr>
            </a:lvl2pPr>
            <a:lvl3pPr>
              <a:lnSpc>
                <a:spcPts val="990"/>
              </a:lnSpc>
              <a:defRPr sz="1200" b="0" i="0" cap="none" baseline="0">
                <a:solidFill>
                  <a:schemeClr val="bg2"/>
                </a:solidFill>
                <a:latin typeface="ITC Franklin Gothic Std Book" panose="020B0504030503020204" pitchFamily="34" charset="0"/>
                <a:ea typeface="ITC Franklin Gothic Std Book" panose="020B0504030503020204" pitchFamily="34" charset="0"/>
                <a:cs typeface="Arial" panose="020B0604020202020204" pitchFamily="34" charset="0"/>
              </a:defRPr>
            </a:lvl3pPr>
            <a:lvl4pPr>
              <a:lnSpc>
                <a:spcPts val="990"/>
              </a:lnSpc>
              <a:defRPr sz="1200" b="0" i="0" cap="none" baseline="0">
                <a:solidFill>
                  <a:schemeClr val="bg2"/>
                </a:solidFill>
                <a:latin typeface="ITC Franklin Gothic Std Book" panose="020B0504030503020204" pitchFamily="34" charset="0"/>
                <a:ea typeface="ITC Franklin Gothic Std Book" panose="020B0504030503020204" pitchFamily="34" charset="0"/>
                <a:cs typeface="Arial" panose="020B0604020202020204" pitchFamily="34" charset="0"/>
              </a:defRPr>
            </a:lvl4pPr>
            <a:lvl5pPr>
              <a:lnSpc>
                <a:spcPts val="990"/>
              </a:lnSpc>
              <a:defRPr sz="1200" b="0" i="0" cap="none" baseline="0">
                <a:solidFill>
                  <a:schemeClr val="bg2"/>
                </a:solidFill>
                <a:latin typeface="ITC Franklin Gothic Std Book" panose="020B0504030503020204" pitchFamily="34" charset="0"/>
                <a:ea typeface="ITC Franklin Gothic Std Book" panose="020B0504030503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2004443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83114988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28097" y="1011248"/>
            <a:ext cx="8012491" cy="1143000"/>
          </a:xfrm>
          <a:prstGeom prst="rect">
            <a:avLst/>
          </a:prstGeom>
        </p:spPr>
        <p:txBody>
          <a:bodyPr anchor="ctr" anchorCtr="0"/>
          <a:lstStyle>
            <a:lvl1pPr>
              <a:defRPr b="1" i="0" cap="none" baseline="0">
                <a:latin typeface="ITC Franklin Gothic Std Med" panose="020B0604030503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728097" y="2154250"/>
            <a:ext cx="8012490" cy="48273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451"/>
              </a:lnSpc>
              <a:defRPr cap="none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712789" y="2613003"/>
            <a:ext cx="8027799" cy="3146425"/>
          </a:xfrm>
        </p:spPr>
        <p:txBody>
          <a:bodyPr anchor="t" anchorCtr="0">
            <a:noAutofit/>
          </a:bodyPr>
          <a:lstStyle>
            <a:lvl1pPr>
              <a:lnSpc>
                <a:spcPts val="990"/>
              </a:lnSpc>
              <a:defRPr sz="1013" b="0" i="0" cap="none" baseline="0">
                <a:solidFill>
                  <a:srgbClr val="FFFFFF"/>
                </a:solidFill>
                <a:latin typeface="ITC Franklin Gothic Std Book" panose="020B0504030503020204" pitchFamily="34" charset="0"/>
                <a:ea typeface="ITC Franklin Gothic Std Book" panose="020B0504030503020204" pitchFamily="34" charset="0"/>
                <a:cs typeface="Arial" panose="020B0604020202020204" pitchFamily="34" charset="0"/>
              </a:defRPr>
            </a:lvl1pPr>
            <a:lvl2pPr>
              <a:lnSpc>
                <a:spcPts val="990"/>
              </a:lnSpc>
              <a:defRPr sz="1013" b="0" i="0" cap="none" baseline="0">
                <a:solidFill>
                  <a:srgbClr val="FFFFFF"/>
                </a:solidFill>
                <a:latin typeface="ITC Franklin Gothic Std Book" panose="020B0504030503020204" pitchFamily="34" charset="0"/>
                <a:ea typeface="ITC Franklin Gothic Std Book" panose="020B0504030503020204" pitchFamily="34" charset="0"/>
                <a:cs typeface="Arial" panose="020B0604020202020204" pitchFamily="34" charset="0"/>
              </a:defRPr>
            </a:lvl2pPr>
            <a:lvl3pPr>
              <a:lnSpc>
                <a:spcPts val="990"/>
              </a:lnSpc>
              <a:defRPr sz="1013" b="0" i="0" cap="none" baseline="0">
                <a:solidFill>
                  <a:srgbClr val="FFFFFF"/>
                </a:solidFill>
                <a:latin typeface="ITC Franklin Gothic Std Book" panose="020B0504030503020204" pitchFamily="34" charset="0"/>
                <a:ea typeface="ITC Franklin Gothic Std Book" panose="020B0504030503020204" pitchFamily="34" charset="0"/>
                <a:cs typeface="Arial" panose="020B0604020202020204" pitchFamily="34" charset="0"/>
              </a:defRPr>
            </a:lvl3pPr>
            <a:lvl4pPr>
              <a:lnSpc>
                <a:spcPts val="990"/>
              </a:lnSpc>
              <a:defRPr sz="1013" b="0" i="0" cap="none" baseline="0">
                <a:solidFill>
                  <a:srgbClr val="FFFFFF"/>
                </a:solidFill>
                <a:latin typeface="ITC Franklin Gothic Std Book" panose="020B0504030503020204" pitchFamily="34" charset="0"/>
                <a:ea typeface="ITC Franklin Gothic Std Book" panose="020B0504030503020204" pitchFamily="34" charset="0"/>
                <a:cs typeface="Arial" panose="020B0604020202020204" pitchFamily="34" charset="0"/>
              </a:defRPr>
            </a:lvl4pPr>
            <a:lvl5pPr>
              <a:lnSpc>
                <a:spcPts val="990"/>
              </a:lnSpc>
              <a:defRPr sz="1013" b="0" i="0" cap="none" baseline="0">
                <a:solidFill>
                  <a:srgbClr val="FFFFFF"/>
                </a:solidFill>
                <a:latin typeface="ITC Franklin Gothic Std Book" panose="020B0504030503020204" pitchFamily="34" charset="0"/>
                <a:ea typeface="ITC Franklin Gothic Std Book" panose="020B0504030503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0612506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709423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0" y="2106147"/>
            <a:ext cx="9127098" cy="1325563"/>
          </a:xfrm>
          <a:prstGeom prst="rect">
            <a:avLst/>
          </a:prstGeom>
        </p:spPr>
        <p:txBody>
          <a:bodyPr/>
          <a:lstStyle>
            <a:lvl1pPr>
              <a:defRPr b="1" i="0" cap="none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presentation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3687764"/>
            <a:ext cx="9127098" cy="599425"/>
          </a:xfrm>
          <a:prstGeom prst="rect">
            <a:avLst/>
          </a:prstGeom>
        </p:spPr>
        <p:txBody>
          <a:bodyPr/>
          <a:lstStyle>
            <a:lvl1pPr algn="ctr">
              <a:defRPr sz="2100" b="1" i="0" cap="none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Presenters Nam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4287189"/>
            <a:ext cx="9143999" cy="584825"/>
          </a:xfrm>
          <a:prstGeom prst="rect">
            <a:avLst/>
          </a:prstGeom>
        </p:spPr>
        <p:txBody>
          <a:bodyPr/>
          <a:lstStyle>
            <a:lvl1pPr algn="ctr">
              <a:defRPr sz="1350" b="1" i="0" cap="none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230785276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13106" y="1700796"/>
            <a:ext cx="8229600" cy="1143000"/>
          </a:xfrm>
          <a:prstGeom prst="rect">
            <a:avLst/>
          </a:prstGeom>
        </p:spPr>
        <p:txBody>
          <a:bodyPr anchor="ctr" anchorCtr="0"/>
          <a:lstStyle>
            <a:lvl1pPr algn="l">
              <a:defRPr b="1" i="0" cap="none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713106" y="2929091"/>
            <a:ext cx="8229600" cy="48273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935"/>
              </a:lnSpc>
              <a:defRPr b="1" i="0" cap="none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712788" y="3392489"/>
            <a:ext cx="8139112" cy="284342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lnSpc>
                <a:spcPts val="1320"/>
              </a:lnSpc>
              <a:defRPr sz="1350" b="0" i="0" cap="none" baseline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1320"/>
              </a:lnSpc>
              <a:defRPr sz="1350" b="0" i="0" cap="none" baseline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1320"/>
              </a:lnSpc>
              <a:defRPr sz="1350" b="0" i="0" cap="none" baseline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1320"/>
              </a:lnSpc>
              <a:defRPr sz="1350" b="0" i="0" cap="none" baseline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1320"/>
              </a:lnSpc>
              <a:defRPr sz="1350" b="0" i="0" cap="none" baseline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0013979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663058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0" y="2106149"/>
            <a:ext cx="9127098" cy="1325563"/>
          </a:xfrm>
          <a:prstGeom prst="rect">
            <a:avLst/>
          </a:prstGeom>
        </p:spPr>
        <p:txBody>
          <a:bodyPr/>
          <a:lstStyle>
            <a:lvl1pPr>
              <a:defRPr b="1" i="0" cap="none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presentation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3687766"/>
            <a:ext cx="9127098" cy="599425"/>
          </a:xfrm>
          <a:prstGeom prst="rect">
            <a:avLst/>
          </a:prstGeom>
        </p:spPr>
        <p:txBody>
          <a:bodyPr/>
          <a:lstStyle>
            <a:lvl1pPr algn="ctr">
              <a:defRPr sz="2100" b="1" i="0" cap="none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Presenters Nam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4287191"/>
            <a:ext cx="9143999" cy="584825"/>
          </a:xfrm>
          <a:prstGeom prst="rect">
            <a:avLst/>
          </a:prstGeom>
        </p:spPr>
        <p:txBody>
          <a:bodyPr/>
          <a:lstStyle>
            <a:lvl1pPr algn="ctr">
              <a:defRPr sz="1350" b="1" i="0" cap="none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33164674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3106" y="1700796"/>
            <a:ext cx="8229600" cy="1143000"/>
          </a:xfrm>
          <a:prstGeom prst="rect">
            <a:avLst/>
          </a:prstGeom>
        </p:spPr>
        <p:txBody>
          <a:bodyPr anchor="ctr" anchorCtr="0"/>
          <a:lstStyle>
            <a:lvl1pPr>
              <a:defRPr b="1" i="0" cap="none" baseline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3106" y="2929089"/>
            <a:ext cx="8229600" cy="48273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2580"/>
              </a:lnSpc>
              <a:defRPr b="1" i="0" cap="none" baseline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712788" y="3392489"/>
            <a:ext cx="8229918" cy="284342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lnSpc>
                <a:spcPts val="1760"/>
              </a:lnSpc>
              <a:defRPr sz="1800" b="0" i="0" cap="none" baseline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1760"/>
              </a:lnSpc>
              <a:defRPr sz="1800" b="0" i="0" cap="none" baseline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1760"/>
              </a:lnSpc>
              <a:defRPr sz="1800" b="0" i="0" cap="none" baseline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1760"/>
              </a:lnSpc>
              <a:defRPr sz="1800" b="0" i="0" cap="none" baseline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1760"/>
              </a:lnSpc>
              <a:defRPr sz="1800" b="0" i="0" cap="none" baseline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/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4737656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0" y="2106149"/>
            <a:ext cx="9127098" cy="1325563"/>
          </a:xfrm>
          <a:prstGeom prst="rect">
            <a:avLst/>
          </a:prstGeom>
        </p:spPr>
        <p:txBody>
          <a:bodyPr/>
          <a:lstStyle>
            <a:lvl1pPr>
              <a:defRPr b="1" i="0" cap="none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presentation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3687766"/>
            <a:ext cx="9127098" cy="599425"/>
          </a:xfrm>
          <a:prstGeom prst="rect">
            <a:avLst/>
          </a:prstGeom>
        </p:spPr>
        <p:txBody>
          <a:bodyPr/>
          <a:lstStyle>
            <a:lvl1pPr algn="ctr">
              <a:defRPr sz="2100" b="1" i="0" cap="none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Presenters Nam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4287191"/>
            <a:ext cx="9143999" cy="584825"/>
          </a:xfrm>
          <a:prstGeom prst="rect">
            <a:avLst/>
          </a:prstGeom>
        </p:spPr>
        <p:txBody>
          <a:bodyPr/>
          <a:lstStyle>
            <a:lvl1pPr algn="ctr">
              <a:defRPr sz="1350" b="1" i="0" cap="none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2299543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13106" y="1700796"/>
            <a:ext cx="8229600" cy="1143000"/>
          </a:xfrm>
          <a:prstGeom prst="rect">
            <a:avLst/>
          </a:prstGeom>
        </p:spPr>
        <p:txBody>
          <a:bodyPr anchor="ctr" anchorCtr="0"/>
          <a:lstStyle>
            <a:lvl1pPr algn="l">
              <a:defRPr b="1" i="0" cap="none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713106" y="2929093"/>
            <a:ext cx="8229600" cy="48273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935"/>
              </a:lnSpc>
              <a:defRPr b="1" i="0" cap="none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712788" y="3392489"/>
            <a:ext cx="8139112" cy="284342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lnSpc>
                <a:spcPts val="1320"/>
              </a:lnSpc>
              <a:defRPr sz="1350" b="0" i="0" cap="none" baseline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1320"/>
              </a:lnSpc>
              <a:defRPr sz="1350" b="0" i="0" cap="none" baseline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1320"/>
              </a:lnSpc>
              <a:defRPr sz="1350" b="0" i="0" cap="none" baseline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1320"/>
              </a:lnSpc>
              <a:defRPr sz="1350" b="0" i="0" cap="none" baseline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1320"/>
              </a:lnSpc>
              <a:defRPr sz="1350" b="0" i="0" cap="none" baseline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771409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8268965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3106" y="1700796"/>
            <a:ext cx="8229600" cy="1143000"/>
          </a:xfrm>
          <a:prstGeom prst="rect">
            <a:avLst/>
          </a:prstGeom>
        </p:spPr>
        <p:txBody>
          <a:bodyPr anchor="ctr" anchorCtr="0"/>
          <a:lstStyle>
            <a:lvl1pPr algn="l">
              <a:defRPr b="1" i="0" cap="none" baseline="0">
                <a:solidFill>
                  <a:srgbClr val="232D4B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712788" y="3392489"/>
            <a:ext cx="8139112" cy="284342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lnSpc>
                <a:spcPts val="1320"/>
              </a:lnSpc>
              <a:defRPr sz="1350" b="0" i="0" cap="none" baseline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1320"/>
              </a:lnSpc>
              <a:defRPr sz="1350" b="0" i="0" cap="none" baseline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1320"/>
              </a:lnSpc>
              <a:defRPr sz="1350" b="0" i="0" cap="none" baseline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1320"/>
              </a:lnSpc>
              <a:defRPr sz="1350" b="0" i="0" cap="none" baseline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1320"/>
              </a:lnSpc>
              <a:defRPr sz="1350" b="0" i="0" cap="none" baseline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713106" y="2929093"/>
            <a:ext cx="8229600" cy="48273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1935"/>
              </a:lnSpc>
              <a:defRPr b="1" i="0" cap="none" baseline="0">
                <a:solidFill>
                  <a:srgbClr val="232D4B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8953546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0" y="2106149"/>
            <a:ext cx="9127098" cy="1325563"/>
          </a:xfrm>
          <a:prstGeom prst="rect">
            <a:avLst/>
          </a:prstGeom>
        </p:spPr>
        <p:txBody>
          <a:bodyPr/>
          <a:lstStyle>
            <a:lvl1pPr>
              <a:defRPr b="1" i="0" cap="none" baseline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presentation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3687766"/>
            <a:ext cx="9127098" cy="599425"/>
          </a:xfrm>
          <a:prstGeom prst="rect">
            <a:avLst/>
          </a:prstGeom>
        </p:spPr>
        <p:txBody>
          <a:bodyPr/>
          <a:lstStyle>
            <a:lvl1pPr algn="ctr">
              <a:defRPr sz="2100" b="1" i="0" cap="none" baseline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Presenters Nam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4287191"/>
            <a:ext cx="9143999" cy="584825"/>
          </a:xfrm>
          <a:prstGeom prst="rect">
            <a:avLst/>
          </a:prstGeom>
        </p:spPr>
        <p:txBody>
          <a:bodyPr/>
          <a:lstStyle>
            <a:lvl1pPr algn="ctr">
              <a:defRPr sz="1350" b="1" i="0" cap="none" baseline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264814931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475626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0" y="2106145"/>
            <a:ext cx="9127098" cy="1325563"/>
          </a:xfrm>
          <a:prstGeom prst="rect">
            <a:avLst/>
          </a:prstGeom>
        </p:spPr>
        <p:txBody>
          <a:bodyPr/>
          <a:lstStyle>
            <a:lvl1pPr>
              <a:defRPr b="1" i="0" cap="none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presentation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3687762"/>
            <a:ext cx="9127098" cy="599425"/>
          </a:xfrm>
          <a:prstGeom prst="rect">
            <a:avLst/>
          </a:prstGeom>
        </p:spPr>
        <p:txBody>
          <a:bodyPr/>
          <a:lstStyle>
            <a:lvl1pPr algn="ctr">
              <a:defRPr sz="2800" b="1" i="0" cap="none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Presenters Nam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4287187"/>
            <a:ext cx="9143999" cy="584825"/>
          </a:xfrm>
          <a:prstGeom prst="rect">
            <a:avLst/>
          </a:prstGeom>
        </p:spPr>
        <p:txBody>
          <a:bodyPr/>
          <a:lstStyle>
            <a:lvl1pPr algn="ctr">
              <a:defRPr sz="1800" b="1" i="0" cap="none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29711471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9.png"/><Relationship Id="rId5" Type="http://schemas.openxmlformats.org/officeDocument/2006/relationships/image" Target="../media/image1.png"/><Relationship Id="rId4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0.xml"/><Relationship Id="rId18" Type="http://schemas.openxmlformats.org/officeDocument/2006/relationships/tags" Target="../tags/tag99.xml"/><Relationship Id="rId26" Type="http://schemas.openxmlformats.org/officeDocument/2006/relationships/tags" Target="../tags/tag107.xml"/><Relationship Id="rId39" Type="http://schemas.openxmlformats.org/officeDocument/2006/relationships/image" Target="../media/image1.png"/><Relationship Id="rId21" Type="http://schemas.openxmlformats.org/officeDocument/2006/relationships/tags" Target="../tags/tag102.xml"/><Relationship Id="rId34" Type="http://schemas.openxmlformats.org/officeDocument/2006/relationships/tags" Target="../tags/tag115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tags" Target="../tags/tag98.xml"/><Relationship Id="rId25" Type="http://schemas.openxmlformats.org/officeDocument/2006/relationships/tags" Target="../tags/tag106.xml"/><Relationship Id="rId33" Type="http://schemas.openxmlformats.org/officeDocument/2006/relationships/tags" Target="../tags/tag114.xml"/><Relationship Id="rId38" Type="http://schemas.openxmlformats.org/officeDocument/2006/relationships/image" Target="../media/image3.emf"/><Relationship Id="rId2" Type="http://schemas.openxmlformats.org/officeDocument/2006/relationships/slideLayout" Target="../slideLayouts/slideLayout39.xml"/><Relationship Id="rId16" Type="http://schemas.openxmlformats.org/officeDocument/2006/relationships/vmlDrawing" Target="../drawings/vmlDrawing16.vml"/><Relationship Id="rId20" Type="http://schemas.openxmlformats.org/officeDocument/2006/relationships/tags" Target="../tags/tag101.xml"/><Relationship Id="rId29" Type="http://schemas.openxmlformats.org/officeDocument/2006/relationships/tags" Target="../tags/tag110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24" Type="http://schemas.openxmlformats.org/officeDocument/2006/relationships/tags" Target="../tags/tag105.xml"/><Relationship Id="rId32" Type="http://schemas.openxmlformats.org/officeDocument/2006/relationships/tags" Target="../tags/tag113.xml"/><Relationship Id="rId37" Type="http://schemas.openxmlformats.org/officeDocument/2006/relationships/oleObject" Target="../embeddings/oleObject16.bin"/><Relationship Id="rId40" Type="http://schemas.openxmlformats.org/officeDocument/2006/relationships/image" Target="../media/image4.png"/><Relationship Id="rId5" Type="http://schemas.openxmlformats.org/officeDocument/2006/relationships/slideLayout" Target="../slideLayouts/slideLayout42.xml"/><Relationship Id="rId15" Type="http://schemas.openxmlformats.org/officeDocument/2006/relationships/theme" Target="../theme/theme11.xml"/><Relationship Id="rId23" Type="http://schemas.openxmlformats.org/officeDocument/2006/relationships/tags" Target="../tags/tag104.xml"/><Relationship Id="rId28" Type="http://schemas.openxmlformats.org/officeDocument/2006/relationships/tags" Target="../tags/tag109.xml"/><Relationship Id="rId36" Type="http://schemas.openxmlformats.org/officeDocument/2006/relationships/tags" Target="../tags/tag117.xml"/><Relationship Id="rId10" Type="http://schemas.openxmlformats.org/officeDocument/2006/relationships/slideLayout" Target="../slideLayouts/slideLayout47.xml"/><Relationship Id="rId19" Type="http://schemas.openxmlformats.org/officeDocument/2006/relationships/tags" Target="../tags/tag100.xml"/><Relationship Id="rId31" Type="http://schemas.openxmlformats.org/officeDocument/2006/relationships/tags" Target="../tags/tag112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tags" Target="../tags/tag103.xml"/><Relationship Id="rId27" Type="http://schemas.openxmlformats.org/officeDocument/2006/relationships/tags" Target="../tags/tag108.xml"/><Relationship Id="rId30" Type="http://schemas.openxmlformats.org/officeDocument/2006/relationships/tags" Target="../tags/tag111.xml"/><Relationship Id="rId35" Type="http://schemas.openxmlformats.org/officeDocument/2006/relationships/tags" Target="../tags/tag116.xml"/><Relationship Id="rId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0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4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image" Target="../media/image9.png"/><Relationship Id="rId5" Type="http://schemas.openxmlformats.org/officeDocument/2006/relationships/image" Target="../media/image1.png"/><Relationship Id="rId4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7.xml"/><Relationship Id="rId18" Type="http://schemas.openxmlformats.org/officeDocument/2006/relationships/tags" Target="../tags/tag196.xml"/><Relationship Id="rId26" Type="http://schemas.openxmlformats.org/officeDocument/2006/relationships/tags" Target="../tags/tag204.xml"/><Relationship Id="rId39" Type="http://schemas.openxmlformats.org/officeDocument/2006/relationships/image" Target="../media/image1.png"/><Relationship Id="rId21" Type="http://schemas.openxmlformats.org/officeDocument/2006/relationships/tags" Target="../tags/tag199.xml"/><Relationship Id="rId34" Type="http://schemas.openxmlformats.org/officeDocument/2006/relationships/tags" Target="../tags/tag212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tags" Target="../tags/tag195.xml"/><Relationship Id="rId25" Type="http://schemas.openxmlformats.org/officeDocument/2006/relationships/tags" Target="../tags/tag203.xml"/><Relationship Id="rId33" Type="http://schemas.openxmlformats.org/officeDocument/2006/relationships/tags" Target="../tags/tag211.xml"/><Relationship Id="rId38" Type="http://schemas.openxmlformats.org/officeDocument/2006/relationships/image" Target="../media/image3.emf"/><Relationship Id="rId2" Type="http://schemas.openxmlformats.org/officeDocument/2006/relationships/slideLayout" Target="../slideLayouts/slideLayout56.xml"/><Relationship Id="rId16" Type="http://schemas.openxmlformats.org/officeDocument/2006/relationships/vmlDrawing" Target="../drawings/vmlDrawing31.vml"/><Relationship Id="rId20" Type="http://schemas.openxmlformats.org/officeDocument/2006/relationships/tags" Target="../tags/tag198.xml"/><Relationship Id="rId29" Type="http://schemas.openxmlformats.org/officeDocument/2006/relationships/tags" Target="../tags/tag207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24" Type="http://schemas.openxmlformats.org/officeDocument/2006/relationships/tags" Target="../tags/tag202.xml"/><Relationship Id="rId32" Type="http://schemas.openxmlformats.org/officeDocument/2006/relationships/tags" Target="../tags/tag210.xml"/><Relationship Id="rId37" Type="http://schemas.openxmlformats.org/officeDocument/2006/relationships/oleObject" Target="../embeddings/oleObject31.bin"/><Relationship Id="rId5" Type="http://schemas.openxmlformats.org/officeDocument/2006/relationships/slideLayout" Target="../slideLayouts/slideLayout59.xml"/><Relationship Id="rId15" Type="http://schemas.openxmlformats.org/officeDocument/2006/relationships/theme" Target="../theme/theme13.xml"/><Relationship Id="rId23" Type="http://schemas.openxmlformats.org/officeDocument/2006/relationships/tags" Target="../tags/tag201.xml"/><Relationship Id="rId28" Type="http://schemas.openxmlformats.org/officeDocument/2006/relationships/tags" Target="../tags/tag206.xml"/><Relationship Id="rId36" Type="http://schemas.openxmlformats.org/officeDocument/2006/relationships/tags" Target="../tags/tag214.xml"/><Relationship Id="rId10" Type="http://schemas.openxmlformats.org/officeDocument/2006/relationships/slideLayout" Target="../slideLayouts/slideLayout64.xml"/><Relationship Id="rId19" Type="http://schemas.openxmlformats.org/officeDocument/2006/relationships/tags" Target="../tags/tag197.xml"/><Relationship Id="rId31" Type="http://schemas.openxmlformats.org/officeDocument/2006/relationships/tags" Target="../tags/tag209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tags" Target="../tags/tag200.xml"/><Relationship Id="rId27" Type="http://schemas.openxmlformats.org/officeDocument/2006/relationships/tags" Target="../tags/tag205.xml"/><Relationship Id="rId30" Type="http://schemas.openxmlformats.org/officeDocument/2006/relationships/tags" Target="../tags/tag208.xml"/><Relationship Id="rId35" Type="http://schemas.openxmlformats.org/officeDocument/2006/relationships/tags" Target="../tags/tag213.xml"/><Relationship Id="rId8" Type="http://schemas.openxmlformats.org/officeDocument/2006/relationships/slideLayout" Target="../slideLayouts/slideLayout62.xml"/><Relationship Id="rId3" Type="http://schemas.openxmlformats.org/officeDocument/2006/relationships/slideLayout" Target="../slideLayouts/slideLayout57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theme" Target="../theme/theme14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4" Type="http://schemas.openxmlformats.org/officeDocument/2006/relationships/image" Target="../media/image10.png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3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image" Target="../media/image1.png"/><Relationship Id="rId5" Type="http://schemas.openxmlformats.org/officeDocument/2006/relationships/theme" Target="../theme/theme15.xml"/><Relationship Id="rId4" Type="http://schemas.openxmlformats.org/officeDocument/2006/relationships/slideLayout" Target="../slideLayouts/slideLayout74.xml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theme" Target="../theme/theme16.xml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4" Type="http://schemas.openxmlformats.org/officeDocument/2006/relationships/image" Target="../media/image8.png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9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78.xml"/><Relationship Id="rId1" Type="http://schemas.openxmlformats.org/officeDocument/2006/relationships/slideLayout" Target="../slideLayouts/slideLayout77.xml"/><Relationship Id="rId6" Type="http://schemas.openxmlformats.org/officeDocument/2006/relationships/image" Target="../media/image11.png"/><Relationship Id="rId5" Type="http://schemas.openxmlformats.org/officeDocument/2006/relationships/tags" Target="../tags/tag304.xml"/><Relationship Id="rId4" Type="http://schemas.openxmlformats.org/officeDocument/2006/relationships/theme" Target="../theme/theme17.xml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theme" Target="../theme/theme18.xml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tags" Target="../tags/tag308.xml"/></Relationships>
</file>

<file path=ppt/slideMasters/_rels/slideMaster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4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83.xml"/><Relationship Id="rId1" Type="http://schemas.openxmlformats.org/officeDocument/2006/relationships/slideLayout" Target="../slideLayouts/slideLayout82.xml"/><Relationship Id="rId6" Type="http://schemas.openxmlformats.org/officeDocument/2006/relationships/image" Target="../media/image13.png"/><Relationship Id="rId5" Type="http://schemas.openxmlformats.org/officeDocument/2006/relationships/tags" Target="../tags/tag311.xml"/><Relationship Id="rId4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.png"/><Relationship Id="rId4" Type="http://schemas.openxmlformats.org/officeDocument/2006/relationships/theme" Target="../theme/theme2.xml"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7.xml"/><Relationship Id="rId2" Type="http://schemas.openxmlformats.org/officeDocument/2006/relationships/slideLayout" Target="../slideLayouts/slideLayout86.xml"/><Relationship Id="rId1" Type="http://schemas.openxmlformats.org/officeDocument/2006/relationships/slideLayout" Target="../slideLayouts/slideLayout85.xml"/><Relationship Id="rId5" Type="http://schemas.openxmlformats.org/officeDocument/2006/relationships/image" Target="../media/image8.png"/><Relationship Id="rId4" Type="http://schemas.openxmlformats.org/officeDocument/2006/relationships/theme" Target="../theme/theme20.xml"/></Relationships>
</file>

<file path=ppt/slideMasters/_rels/slideMaster21.xml.rels><?xml version="1.0" encoding="UTF-8" standalone="yes"?>
<Relationships xmlns="http://schemas.openxmlformats.org/package/2006/relationships"><Relationship Id="rId3" Type="http://schemas.openxmlformats.org/officeDocument/2006/relationships/theme" Target="../theme/theme21.xml"/><Relationship Id="rId2" Type="http://schemas.openxmlformats.org/officeDocument/2006/relationships/slideLayout" Target="../slideLayouts/slideLayout89.xml"/><Relationship Id="rId1" Type="http://schemas.openxmlformats.org/officeDocument/2006/relationships/slideLayout" Target="../slideLayouts/slideLayout88.xml"/><Relationship Id="rId4" Type="http://schemas.openxmlformats.org/officeDocument/2006/relationships/image" Target="../media/image1.png"/></Relationships>
</file>

<file path=ppt/slideMasters/_rels/slideMaster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2.xml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Relationship Id="rId5" Type="http://schemas.openxmlformats.org/officeDocument/2006/relationships/image" Target="../media/image1.png"/><Relationship Id="rId4" Type="http://schemas.openxmlformats.org/officeDocument/2006/relationships/theme" Target="../theme/theme22.xml"/></Relationships>
</file>

<file path=ppt/slideMasters/_rels/slideMaster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5.xml"/><Relationship Id="rId2" Type="http://schemas.openxmlformats.org/officeDocument/2006/relationships/slideLayout" Target="../slideLayouts/slideLayout94.xml"/><Relationship Id="rId1" Type="http://schemas.openxmlformats.org/officeDocument/2006/relationships/slideLayout" Target="../slideLayouts/slideLayout93.xml"/><Relationship Id="rId5" Type="http://schemas.openxmlformats.org/officeDocument/2006/relationships/image" Target="../media/image2.png"/><Relationship Id="rId4" Type="http://schemas.openxmlformats.org/officeDocument/2006/relationships/theme" Target="../theme/theme23.xml"/></Relationships>
</file>

<file path=ppt/slideMasters/_rels/slideMaster24.xml.rels><?xml version="1.0" encoding="UTF-8" standalone="yes"?>
<Relationships xmlns="http://schemas.openxmlformats.org/package/2006/relationships"><Relationship Id="rId3" Type="http://schemas.openxmlformats.org/officeDocument/2006/relationships/theme" Target="../theme/theme24.xml"/><Relationship Id="rId2" Type="http://schemas.openxmlformats.org/officeDocument/2006/relationships/slideLayout" Target="../slideLayouts/slideLayout97.xml"/><Relationship Id="rId1" Type="http://schemas.openxmlformats.org/officeDocument/2006/relationships/slideLayout" Target="../slideLayouts/slideLayout96.xml"/><Relationship Id="rId4" Type="http://schemas.openxmlformats.org/officeDocument/2006/relationships/image" Target="../media/image8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.pn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.png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heme" Target="../theme/theme6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.png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tags" Target="../tags/tag2.xml"/><Relationship Id="rId26" Type="http://schemas.openxmlformats.org/officeDocument/2006/relationships/tags" Target="../tags/tag10.xml"/><Relationship Id="rId39" Type="http://schemas.openxmlformats.org/officeDocument/2006/relationships/image" Target="../media/image1.png"/><Relationship Id="rId21" Type="http://schemas.openxmlformats.org/officeDocument/2006/relationships/tags" Target="../tags/tag5.xml"/><Relationship Id="rId34" Type="http://schemas.openxmlformats.org/officeDocument/2006/relationships/tags" Target="../tags/tag18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tags" Target="../tags/tag1.xml"/><Relationship Id="rId25" Type="http://schemas.openxmlformats.org/officeDocument/2006/relationships/tags" Target="../tags/tag9.xml"/><Relationship Id="rId33" Type="http://schemas.openxmlformats.org/officeDocument/2006/relationships/tags" Target="../tags/tag17.xml"/><Relationship Id="rId38" Type="http://schemas.openxmlformats.org/officeDocument/2006/relationships/image" Target="../media/image3.emf"/><Relationship Id="rId2" Type="http://schemas.openxmlformats.org/officeDocument/2006/relationships/slideLayout" Target="../slideLayouts/slideLayout16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4.xml"/><Relationship Id="rId29" Type="http://schemas.openxmlformats.org/officeDocument/2006/relationships/tags" Target="../tags/tag13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8.xml"/><Relationship Id="rId32" Type="http://schemas.openxmlformats.org/officeDocument/2006/relationships/tags" Target="../tags/tag16.xml"/><Relationship Id="rId37" Type="http://schemas.openxmlformats.org/officeDocument/2006/relationships/oleObject" Target="../embeddings/oleObject1.bin"/><Relationship Id="rId40" Type="http://schemas.openxmlformats.org/officeDocument/2006/relationships/image" Target="../media/image4.png"/><Relationship Id="rId5" Type="http://schemas.openxmlformats.org/officeDocument/2006/relationships/slideLayout" Target="../slideLayouts/slideLayout19.xml"/><Relationship Id="rId15" Type="http://schemas.openxmlformats.org/officeDocument/2006/relationships/theme" Target="../theme/theme7.xml"/><Relationship Id="rId23" Type="http://schemas.openxmlformats.org/officeDocument/2006/relationships/tags" Target="../tags/tag7.xml"/><Relationship Id="rId28" Type="http://schemas.openxmlformats.org/officeDocument/2006/relationships/tags" Target="../tags/tag12.xml"/><Relationship Id="rId36" Type="http://schemas.openxmlformats.org/officeDocument/2006/relationships/tags" Target="../tags/tag20.xml"/><Relationship Id="rId10" Type="http://schemas.openxmlformats.org/officeDocument/2006/relationships/slideLayout" Target="../slideLayouts/slideLayout24.xml"/><Relationship Id="rId19" Type="http://schemas.openxmlformats.org/officeDocument/2006/relationships/tags" Target="../tags/tag3.xml"/><Relationship Id="rId31" Type="http://schemas.openxmlformats.org/officeDocument/2006/relationships/tags" Target="../tags/tag15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ags" Target="../tags/tag6.xml"/><Relationship Id="rId27" Type="http://schemas.openxmlformats.org/officeDocument/2006/relationships/tags" Target="../tags/tag11.xml"/><Relationship Id="rId30" Type="http://schemas.openxmlformats.org/officeDocument/2006/relationships/tags" Target="../tags/tag14.xml"/><Relationship Id="rId35" Type="http://schemas.openxmlformats.org/officeDocument/2006/relationships/tags" Target="../tags/tag19.xml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8.png"/><Relationship Id="rId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5" Type="http://schemas.openxmlformats.org/officeDocument/2006/relationships/image" Target="../media/image1.png"/><Relationship Id="rId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1"/>
            <a:ext cx="9144000" cy="1034320"/>
          </a:xfrm>
          <a:prstGeom prst="rect">
            <a:avLst/>
          </a:prstGeom>
          <a:solidFill>
            <a:srgbClr val="232D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666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827" y="242785"/>
            <a:ext cx="1531051" cy="548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7834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8" r:id="rId3"/>
  </p:sldLayoutIdLst>
  <p:txStyles>
    <p:titleStyle>
      <a:lvl1pPr algn="ctr" defTabSz="457200" rtl="0" eaLnBrk="1" latinLnBrk="0" hangingPunct="1">
        <a:lnSpc>
          <a:spcPts val="4000"/>
        </a:lnSpc>
        <a:spcBef>
          <a:spcPct val="0"/>
        </a:spcBef>
        <a:buNone/>
        <a:defRPr sz="4000" kern="1200" cap="all" baseline="0">
          <a:solidFill>
            <a:schemeClr val="tx1"/>
          </a:solidFill>
          <a:latin typeface="ITC Franklin Gothic Heavy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Tx/>
        <a:buNone/>
        <a:defRPr sz="2400" kern="1200" cap="all">
          <a:solidFill>
            <a:schemeClr val="tx1"/>
          </a:solidFill>
          <a:latin typeface="ITC Franklin Gothic Demi"/>
          <a:ea typeface="+mn-ea"/>
          <a:cs typeface="+mn-cs"/>
        </a:defRPr>
      </a:lvl1pPr>
      <a:lvl2pPr marL="0" indent="0" algn="l" defTabSz="457200" rtl="0" eaLnBrk="1" latinLnBrk="0" hangingPunct="1">
        <a:spcBef>
          <a:spcPct val="20000"/>
        </a:spcBef>
        <a:buFontTx/>
        <a:buNone/>
        <a:defRPr sz="2000" kern="1200">
          <a:solidFill>
            <a:schemeClr val="bg1"/>
          </a:solidFill>
          <a:latin typeface="ITC Franklin Gothic Book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bg1"/>
          </a:solidFill>
          <a:latin typeface="ITC Franklin Gothic Book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bg1"/>
          </a:solidFill>
          <a:latin typeface="ITC Franklin Gothic Book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bg1"/>
          </a:solidFill>
          <a:latin typeface="ITC Franklin Gothic Book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1"/>
            <a:ext cx="9144000" cy="1034320"/>
          </a:xfrm>
          <a:prstGeom prst="rect">
            <a:avLst/>
          </a:prstGeom>
          <a:solidFill>
            <a:srgbClr val="232D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666" b="0" i="0" u="none" strike="noStrike" kern="1200" cap="none" spc="0" normalizeH="0" baseline="0" noProof="0">
              <a:ln>
                <a:noFill/>
              </a:ln>
              <a:solidFill>
                <a:srgbClr val="262F3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827" y="242785"/>
            <a:ext cx="1531051" cy="548752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011583" y="5914319"/>
            <a:ext cx="1132417" cy="9436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93244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</p:sldLayoutIdLst>
  <p:txStyles>
    <p:titleStyle>
      <a:lvl1pPr algn="l" defTabSz="457200" rtl="0" eaLnBrk="1" latinLnBrk="0" hangingPunct="1">
        <a:lnSpc>
          <a:spcPts val="4000"/>
        </a:lnSpc>
        <a:spcBef>
          <a:spcPct val="0"/>
        </a:spcBef>
        <a:buNone/>
        <a:defRPr sz="4000" kern="1200" cap="all" baseline="0">
          <a:solidFill>
            <a:schemeClr val="tx1"/>
          </a:solidFill>
          <a:latin typeface="ITC Franklin Gothic Heavy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Tx/>
        <a:buNone/>
        <a:defRPr sz="2400" kern="1200" cap="all">
          <a:solidFill>
            <a:schemeClr val="tx1"/>
          </a:solidFill>
          <a:latin typeface="ITC Franklin Gothic Demi"/>
          <a:ea typeface="+mn-ea"/>
          <a:cs typeface="+mn-cs"/>
        </a:defRPr>
      </a:lvl1pPr>
      <a:lvl2pPr marL="0" indent="0" algn="l" defTabSz="457200" rtl="0" eaLnBrk="1" latinLnBrk="0" hangingPunct="1">
        <a:spcBef>
          <a:spcPct val="20000"/>
        </a:spcBef>
        <a:buFontTx/>
        <a:buNone/>
        <a:defRPr sz="2000" kern="1200">
          <a:solidFill>
            <a:schemeClr val="bg1"/>
          </a:solidFill>
          <a:latin typeface="ITC Franklin Gothic Book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bg1"/>
          </a:solidFill>
          <a:latin typeface="ITC Franklin Gothic Book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bg1"/>
          </a:solidFill>
          <a:latin typeface="ITC Franklin Gothic Book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bg1"/>
          </a:solidFill>
          <a:latin typeface="ITC Franklin Gothic Book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21" name="think-cell Slide" r:id="rId37" imgW="413" imgH="416" progId="TCLayout.ActiveDocument.1">
                  <p:embed/>
                </p:oleObj>
              </mc:Choice>
              <mc:Fallback>
                <p:oleObj name="think-cell Slide" r:id="rId3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0ECE15BF-F591-4BE1-A12C-D0DD531AB1EC}"/>
              </a:ext>
            </a:extLst>
          </p:cNvPr>
          <p:cNvSpPr/>
          <p:nvPr userDrawn="1"/>
        </p:nvSpPr>
        <p:spPr bwMode="ltGray">
          <a:xfrm>
            <a:off x="0" y="16659"/>
            <a:ext cx="9144000" cy="932687"/>
          </a:xfrm>
          <a:prstGeom prst="rect">
            <a:avLst/>
          </a:prstGeom>
          <a:solidFill>
            <a:srgbClr val="232D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99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pic>
        <p:nvPicPr>
          <p:cNvPr id="149" name="Picture 148">
            <a:extLst>
              <a:ext uri="{FF2B5EF4-FFF2-40B4-BE49-F238E27FC236}">
                <a16:creationId xmlns:a16="http://schemas.microsoft.com/office/drawing/2014/main" id="{BFA85809-AA22-4AAE-857B-A7C1750353F7}"/>
              </a:ext>
            </a:extLst>
          </p:cNvPr>
          <p:cNvPicPr>
            <a:picLocks noChangeAspect="1"/>
          </p:cNvPicPr>
          <p:nvPr userDrawn="1"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7579660" y="263596"/>
            <a:ext cx="1148288" cy="548752"/>
          </a:xfrm>
          <a:prstGeom prst="rect">
            <a:avLst/>
          </a:prstGeom>
        </p:spPr>
      </p:pic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415479" y="6278401"/>
            <a:ext cx="545896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marL="152400" marR="0" lvl="0" indent="-159544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9142857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err="1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398095"/>
              <a:ext cx="11082528" cy="4819825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139856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39856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416052" y="1289274"/>
            <a:ext cx="280526" cy="9233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all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416052" y="2170800"/>
            <a:ext cx="2286940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Arial" panose="020B0604020202020204" pitchFamily="34" charset="0"/>
              </a:rPr>
              <a:t>Above Chart Exhibit Title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Arial" panose="020B0604020202020204" pitchFamily="34" charset="0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Arial" panose="020B0604020202020204" pitchFamily="34" charset="0"/>
              </a:rPr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052" y="2170800"/>
            <a:ext cx="1847766" cy="12105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07D2E107-E73A-4C94-9276-22142C9DA284}"/>
              </a:ext>
            </a:extLst>
          </p:cNvPr>
          <p:cNvGrpSpPr/>
          <p:nvPr userDrawn="1"/>
        </p:nvGrpSpPr>
        <p:grpSpPr>
          <a:xfrm>
            <a:off x="7737981" y="3177154"/>
            <a:ext cx="961116" cy="904425"/>
            <a:chOff x="10162879" y="3270702"/>
            <a:chExt cx="1281488" cy="904425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9CE66A31-6D72-45D3-B732-07F06EA65D5B}"/>
                </a:ext>
              </a:extLst>
            </p:cNvPr>
            <p:cNvSpPr txBox="1"/>
            <p:nvPr/>
          </p:nvSpPr>
          <p:spPr>
            <a:xfrm>
              <a:off x="10886522" y="3270702"/>
              <a:ext cx="557845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Legend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F6DC04AC-D1EA-482F-B414-296A7DE0FA09}"/>
                </a:ext>
              </a:extLst>
            </p:cNvPr>
            <p:cNvSpPr txBox="1"/>
            <p:nvPr/>
          </p:nvSpPr>
          <p:spPr>
            <a:xfrm>
              <a:off x="10886522" y="3642123"/>
              <a:ext cx="557845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4B5BD1E8-13AD-466E-81CB-D56784DFF95A}"/>
                </a:ext>
              </a:extLst>
            </p:cNvPr>
            <p:cNvSpPr txBox="1"/>
            <p:nvPr/>
          </p:nvSpPr>
          <p:spPr>
            <a:xfrm>
              <a:off x="10886522" y="4013544"/>
              <a:ext cx="557845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17D4408B-1BA1-4C2F-A95C-933DD62A425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F6E2CD31-E535-434C-BCCE-170D6DBC93E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AD4BAFAC-E385-412B-87E0-4A74A29C290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39E398B1-7ADC-4AA5-A514-B27A32CBCEC1}"/>
              </a:ext>
            </a:extLst>
          </p:cNvPr>
          <p:cNvGrpSpPr/>
          <p:nvPr userDrawn="1"/>
        </p:nvGrpSpPr>
        <p:grpSpPr>
          <a:xfrm>
            <a:off x="8016238" y="1145373"/>
            <a:ext cx="682858" cy="1731859"/>
            <a:chOff x="7723680" y="1702457"/>
            <a:chExt cx="910477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9013CF69-0958-4C3A-BFD5-44EAAE1CFC6C}"/>
                </a:ext>
              </a:extLst>
            </p:cNvPr>
            <p:cNvSpPr txBox="1"/>
            <p:nvPr/>
          </p:nvSpPr>
          <p:spPr>
            <a:xfrm>
              <a:off x="8076312" y="1736746"/>
              <a:ext cx="557845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Legend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00139C7A-E52F-4FDB-A4EA-015598DEC8E1}"/>
                </a:ext>
              </a:extLst>
            </p:cNvPr>
            <p:cNvSpPr txBox="1"/>
            <p:nvPr/>
          </p:nvSpPr>
          <p:spPr>
            <a:xfrm>
              <a:off x="8076312" y="2112205"/>
              <a:ext cx="557845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Legend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1FE44269-8935-4246-B0F1-CBD23B1233B2}"/>
                </a:ext>
              </a:extLst>
            </p:cNvPr>
            <p:cNvSpPr txBox="1"/>
            <p:nvPr/>
          </p:nvSpPr>
          <p:spPr>
            <a:xfrm>
              <a:off x="8076312" y="2487664"/>
              <a:ext cx="557845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Legend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CA239235-0C55-4323-BBA3-EE55C22B0784}"/>
                </a:ext>
              </a:extLst>
            </p:cNvPr>
            <p:cNvSpPr txBox="1"/>
            <p:nvPr/>
          </p:nvSpPr>
          <p:spPr>
            <a:xfrm>
              <a:off x="8076312" y="2863123"/>
              <a:ext cx="557845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Legend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EC463E3F-3793-491B-98E4-A3B1075EF1C4}"/>
                </a:ext>
              </a:extLst>
            </p:cNvPr>
            <p:cNvSpPr txBox="1"/>
            <p:nvPr/>
          </p:nvSpPr>
          <p:spPr>
            <a:xfrm>
              <a:off x="8076312" y="3238584"/>
              <a:ext cx="557845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Legend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56912277-4367-4369-A2DC-2E5EF7BF9067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F77ABC3A-E13C-45D3-A6A9-188B601D901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EE959816-BC9F-47C2-9AC2-8B0630D6D822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534648CA-DBA8-48D6-BCA3-75CB9988F4A0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ACC06618-1ADA-42A9-A419-58B8C15F36DB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0B628515-D6E8-4153-940D-2127501B9E3F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941DF02F-5A41-402B-BCB3-01EE30ED3334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649FD38D-1DEE-46E8-8D56-675BFF6DA4A4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66F4C765-0E9C-4049-B413-B98B0B5A693E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DDA5F48D-B49D-4C67-BCC2-985F6308EA53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379EAA7B-6458-45E8-99E8-FEA51F408552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E1D88A6E-B6B8-4E92-B45C-3C28C637600A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0BA8B982-5712-4E66-94BA-2AA5DA965C29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22578758-9A32-4D12-9087-DB983792347F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BDA881C5-D4C7-42E0-9CC7-A685007817BA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4E352F8C-0EEB-4ED3-A3D9-1E0512936E6F}"/>
              </a:ext>
            </a:extLst>
          </p:cNvPr>
          <p:cNvGrpSpPr/>
          <p:nvPr userDrawn="1"/>
        </p:nvGrpSpPr>
        <p:grpSpPr>
          <a:xfrm>
            <a:off x="8036103" y="4402859"/>
            <a:ext cx="662994" cy="1673015"/>
            <a:chOff x="10652400" y="4344182"/>
            <a:chExt cx="883991" cy="1673015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474A48A8-5C4B-4762-9019-4067BE713DFA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err="1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B36FB66E-6A60-4626-83CC-D4FCB86CBF85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err="1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C1E4C7C0-F39E-4211-B229-6A5521E14B47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err="1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7F37B087-0A92-48AF-9DB1-EC02078EA17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err="1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9CBC2827-4F00-4781-A1D6-0C5049C828B1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err="1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CB875E24-53DA-486F-A58C-BA2130B55DB9}"/>
                </a:ext>
              </a:extLst>
            </p:cNvPr>
            <p:cNvSpPr txBox="1"/>
            <p:nvPr/>
          </p:nvSpPr>
          <p:spPr>
            <a:xfrm>
              <a:off x="10978546" y="4349754"/>
              <a:ext cx="557845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Legend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DCC6DBB1-A0D7-44D6-9D97-362F6317334A}"/>
                </a:ext>
              </a:extLst>
            </p:cNvPr>
            <p:cNvSpPr txBox="1"/>
            <p:nvPr/>
          </p:nvSpPr>
          <p:spPr>
            <a:xfrm>
              <a:off x="10978546" y="4729252"/>
              <a:ext cx="557845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Legend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680FFA65-4FFF-4B91-BA71-74974F017CBF}"/>
                </a:ext>
              </a:extLst>
            </p:cNvPr>
            <p:cNvSpPr txBox="1"/>
            <p:nvPr/>
          </p:nvSpPr>
          <p:spPr>
            <a:xfrm>
              <a:off x="10978546" y="5108750"/>
              <a:ext cx="557845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Legend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BCB4244F-2985-4763-B039-5672B80530C8}"/>
                </a:ext>
              </a:extLst>
            </p:cNvPr>
            <p:cNvSpPr txBox="1"/>
            <p:nvPr/>
          </p:nvSpPr>
          <p:spPr>
            <a:xfrm>
              <a:off x="10978546" y="5480171"/>
              <a:ext cx="557845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Legend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99CA954A-5229-4D68-A171-D6D0D0C75015}"/>
                </a:ext>
              </a:extLst>
            </p:cNvPr>
            <p:cNvSpPr txBox="1"/>
            <p:nvPr/>
          </p:nvSpPr>
          <p:spPr>
            <a:xfrm>
              <a:off x="10978545" y="5851592"/>
              <a:ext cx="557845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Legend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</p:grp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416052" y="172212"/>
            <a:ext cx="7021853" cy="73152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2A481FB-BB45-E644-BAE8-6877213196C3}"/>
              </a:ext>
            </a:extLst>
          </p:cNvPr>
          <p:cNvPicPr>
            <a:picLocks noChangeAspect="1"/>
          </p:cNvPicPr>
          <p:nvPr userDrawn="1"/>
        </p:nvPicPr>
        <p:blipFill>
          <a:blip r:embed="rId40"/>
          <a:srcRect/>
          <a:stretch/>
        </p:blipFill>
        <p:spPr>
          <a:xfrm>
            <a:off x="7658666" y="4831507"/>
            <a:ext cx="1219590" cy="1754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2101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17" r:id="rId2"/>
    <p:sldLayoutId id="2147483818" r:id="rId3"/>
    <p:sldLayoutId id="2147483819" r:id="rId4"/>
    <p:sldLayoutId id="2147483820" r:id="rId5"/>
    <p:sldLayoutId id="2147483821" r:id="rId6"/>
    <p:sldLayoutId id="2147483822" r:id="rId7"/>
    <p:sldLayoutId id="2147483823" r:id="rId8"/>
    <p:sldLayoutId id="2147483824" r:id="rId9"/>
    <p:sldLayoutId id="2147483825" r:id="rId10"/>
    <p:sldLayoutId id="2147483826" r:id="rId11"/>
    <p:sldLayoutId id="2147483827" r:id="rId12"/>
    <p:sldLayoutId id="2147483828" r:id="rId13"/>
    <p:sldLayoutId id="2147483829" r:id="rId14"/>
  </p:sldLayoutIdLst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lang="en-US" sz="1875" b="1" kern="1200" spc="0" baseline="0" dirty="0">
          <a:ln w="6350" cap="flat">
            <a:noFill/>
            <a:miter lim="800000"/>
          </a:ln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2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71450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29184" indent="-157734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45770" indent="-116586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10362" indent="-10972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orient="horz" pos="864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3912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1"/>
            <a:ext cx="9144000" cy="1034320"/>
          </a:xfrm>
          <a:prstGeom prst="rect">
            <a:avLst/>
          </a:prstGeom>
          <a:solidFill>
            <a:srgbClr val="232D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666" b="0" i="0" u="none" strike="noStrike" kern="1200" cap="none" spc="0" normalizeH="0" baseline="0" noProof="0">
              <a:ln>
                <a:noFill/>
              </a:ln>
              <a:solidFill>
                <a:srgbClr val="262F3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827" y="242785"/>
            <a:ext cx="1531051" cy="548752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011583" y="5914319"/>
            <a:ext cx="1132417" cy="9436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7804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1" r:id="rId1"/>
    <p:sldLayoutId id="2147483832" r:id="rId2"/>
    <p:sldLayoutId id="2147483833" r:id="rId3"/>
  </p:sldLayoutIdLst>
  <p:txStyles>
    <p:titleStyle>
      <a:lvl1pPr algn="l" defTabSz="457200" rtl="0" eaLnBrk="1" latinLnBrk="0" hangingPunct="1">
        <a:lnSpc>
          <a:spcPts val="4000"/>
        </a:lnSpc>
        <a:spcBef>
          <a:spcPct val="0"/>
        </a:spcBef>
        <a:buNone/>
        <a:defRPr sz="4000" kern="1200" cap="all" baseline="0">
          <a:solidFill>
            <a:schemeClr val="tx1"/>
          </a:solidFill>
          <a:latin typeface="ITC Franklin Gothic Heavy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Tx/>
        <a:buNone/>
        <a:defRPr sz="2400" kern="1200" cap="all">
          <a:solidFill>
            <a:schemeClr val="tx1"/>
          </a:solidFill>
          <a:latin typeface="ITC Franklin Gothic Demi"/>
          <a:ea typeface="+mn-ea"/>
          <a:cs typeface="+mn-cs"/>
        </a:defRPr>
      </a:lvl1pPr>
      <a:lvl2pPr marL="0" indent="0" algn="l" defTabSz="457200" rtl="0" eaLnBrk="1" latinLnBrk="0" hangingPunct="1">
        <a:spcBef>
          <a:spcPct val="20000"/>
        </a:spcBef>
        <a:buFontTx/>
        <a:buNone/>
        <a:defRPr sz="2000" kern="1200">
          <a:solidFill>
            <a:schemeClr val="bg1"/>
          </a:solidFill>
          <a:latin typeface="ITC Franklin Gothic Book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bg1"/>
          </a:solidFill>
          <a:latin typeface="ITC Franklin Gothic Book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bg1"/>
          </a:solidFill>
          <a:latin typeface="ITC Franklin Gothic Book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bg1"/>
          </a:solidFill>
          <a:latin typeface="ITC Franklin Gothic Book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54" name="think-cell Slide" r:id="rId37" imgW="413" imgH="416" progId="TCLayout.ActiveDocument.1">
                  <p:embed/>
                </p:oleObj>
              </mc:Choice>
              <mc:Fallback>
                <p:oleObj name="think-cell Slide" r:id="rId3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0ECE15BF-F591-4BE1-A12C-D0DD531AB1EC}"/>
              </a:ext>
            </a:extLst>
          </p:cNvPr>
          <p:cNvSpPr/>
          <p:nvPr userDrawn="1"/>
        </p:nvSpPr>
        <p:spPr bwMode="ltGray">
          <a:xfrm>
            <a:off x="0" y="1"/>
            <a:ext cx="9144000" cy="932687"/>
          </a:xfrm>
          <a:prstGeom prst="rect">
            <a:avLst/>
          </a:prstGeom>
          <a:solidFill>
            <a:srgbClr val="232D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9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9" name="Picture 148">
            <a:extLst>
              <a:ext uri="{FF2B5EF4-FFF2-40B4-BE49-F238E27FC236}">
                <a16:creationId xmlns:a16="http://schemas.microsoft.com/office/drawing/2014/main" id="{BFA85809-AA22-4AAE-857B-A7C1750353F7}"/>
              </a:ext>
            </a:extLst>
          </p:cNvPr>
          <p:cNvPicPr>
            <a:picLocks noChangeAspect="1"/>
          </p:cNvPicPr>
          <p:nvPr userDrawn="1"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7579660" y="263596"/>
            <a:ext cx="1148288" cy="548752"/>
          </a:xfrm>
          <a:prstGeom prst="rect">
            <a:avLst/>
          </a:prstGeom>
        </p:spPr>
      </p:pic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415479" y="6278401"/>
            <a:ext cx="545896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marL="152400" marR="0" lvl="0" indent="-159544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9142857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398095"/>
              <a:ext cx="11082528" cy="4819825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139856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39856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416052" y="1289274"/>
            <a:ext cx="258084" cy="9233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all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416052" y="2170800"/>
            <a:ext cx="2286940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Above Chart Exhibit Title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052" y="2170800"/>
            <a:ext cx="1847766" cy="12105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07D2E107-E73A-4C94-9276-22142C9DA284}"/>
              </a:ext>
            </a:extLst>
          </p:cNvPr>
          <p:cNvGrpSpPr/>
          <p:nvPr userDrawn="1"/>
        </p:nvGrpSpPr>
        <p:grpSpPr>
          <a:xfrm>
            <a:off x="7737978" y="3177154"/>
            <a:ext cx="938674" cy="904425"/>
            <a:chOff x="10162879" y="3270702"/>
            <a:chExt cx="1251565" cy="904425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9CE66A31-6D72-45D3-B732-07F06EA65D5B}"/>
                </a:ext>
              </a:extLst>
            </p:cNvPr>
            <p:cNvSpPr txBox="1"/>
            <p:nvPr/>
          </p:nvSpPr>
          <p:spPr>
            <a:xfrm>
              <a:off x="10886521" y="3270702"/>
              <a:ext cx="527923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F6DC04AC-D1EA-482F-B414-296A7DE0FA09}"/>
                </a:ext>
              </a:extLst>
            </p:cNvPr>
            <p:cNvSpPr txBox="1"/>
            <p:nvPr/>
          </p:nvSpPr>
          <p:spPr>
            <a:xfrm>
              <a:off x="10886521" y="3642123"/>
              <a:ext cx="527923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4B5BD1E8-13AD-466E-81CB-D56784DFF95A}"/>
                </a:ext>
              </a:extLst>
            </p:cNvPr>
            <p:cNvSpPr txBox="1"/>
            <p:nvPr/>
          </p:nvSpPr>
          <p:spPr>
            <a:xfrm>
              <a:off x="10886521" y="4013544"/>
              <a:ext cx="527923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17D4408B-1BA1-4C2F-A95C-933DD62A425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F6E2CD31-E535-434C-BCCE-170D6DBC93E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AD4BAFAC-E385-412B-87E0-4A74A29C290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39E398B1-7ADC-4AA5-A514-B27A32CBCEC1}"/>
              </a:ext>
            </a:extLst>
          </p:cNvPr>
          <p:cNvGrpSpPr/>
          <p:nvPr userDrawn="1"/>
        </p:nvGrpSpPr>
        <p:grpSpPr>
          <a:xfrm>
            <a:off x="8016235" y="1145373"/>
            <a:ext cx="660416" cy="1731859"/>
            <a:chOff x="7723680" y="1702457"/>
            <a:chExt cx="880554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9013CF69-0958-4C3A-BFD5-44EAAE1CFC6C}"/>
                </a:ext>
              </a:extLst>
            </p:cNvPr>
            <p:cNvSpPr txBox="1"/>
            <p:nvPr/>
          </p:nvSpPr>
          <p:spPr>
            <a:xfrm>
              <a:off x="8076312" y="1736746"/>
              <a:ext cx="527922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00139C7A-E52F-4FDB-A4EA-015598DEC8E1}"/>
                </a:ext>
              </a:extLst>
            </p:cNvPr>
            <p:cNvSpPr txBox="1"/>
            <p:nvPr/>
          </p:nvSpPr>
          <p:spPr>
            <a:xfrm>
              <a:off x="8076312" y="2112205"/>
              <a:ext cx="527922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1FE44269-8935-4246-B0F1-CBD23B1233B2}"/>
                </a:ext>
              </a:extLst>
            </p:cNvPr>
            <p:cNvSpPr txBox="1"/>
            <p:nvPr/>
          </p:nvSpPr>
          <p:spPr>
            <a:xfrm>
              <a:off x="8076312" y="2487664"/>
              <a:ext cx="527922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CA239235-0C55-4323-BBA3-EE55C22B0784}"/>
                </a:ext>
              </a:extLst>
            </p:cNvPr>
            <p:cNvSpPr txBox="1"/>
            <p:nvPr/>
          </p:nvSpPr>
          <p:spPr>
            <a:xfrm>
              <a:off x="8076312" y="2863123"/>
              <a:ext cx="527922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EC463E3F-3793-491B-98E4-A3B1075EF1C4}"/>
                </a:ext>
              </a:extLst>
            </p:cNvPr>
            <p:cNvSpPr txBox="1"/>
            <p:nvPr/>
          </p:nvSpPr>
          <p:spPr>
            <a:xfrm>
              <a:off x="8076312" y="3238584"/>
              <a:ext cx="527922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Legend</a:t>
              </a:r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56912277-4367-4369-A2DC-2E5EF7BF9067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F77ABC3A-E13C-45D3-A6A9-188B601D901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EE959816-BC9F-47C2-9AC2-8B0630D6D822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534648CA-DBA8-48D6-BCA3-75CB9988F4A0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ACC06618-1ADA-42A9-A419-58B8C15F36DB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0B628515-D6E8-4153-940D-2127501B9E3F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941DF02F-5A41-402B-BCB3-01EE30ED3334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649FD38D-1DEE-46E8-8D56-675BFF6DA4A4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66F4C765-0E9C-4049-B413-B98B0B5A693E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DDA5F48D-B49D-4C67-BCC2-985F6308EA53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379EAA7B-6458-45E8-99E8-FEA51F408552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E1D88A6E-B6B8-4E92-B45C-3C28C637600A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0BA8B982-5712-4E66-94BA-2AA5DA965C29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22578758-9A32-4D12-9087-DB983792347F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BDA881C5-D4C7-42E0-9CC7-A685007817BA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4E352F8C-0EEB-4ED3-A3D9-1E0512936E6F}"/>
              </a:ext>
            </a:extLst>
          </p:cNvPr>
          <p:cNvGrpSpPr/>
          <p:nvPr userDrawn="1"/>
        </p:nvGrpSpPr>
        <p:grpSpPr>
          <a:xfrm>
            <a:off x="8036107" y="4402859"/>
            <a:ext cx="640553" cy="1673015"/>
            <a:chOff x="10652400" y="4344182"/>
            <a:chExt cx="854070" cy="1673015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474A48A8-5C4B-4762-9019-4067BE713DFA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B36FB66E-6A60-4626-83CC-D4FCB86CBF85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C1E4C7C0-F39E-4211-B229-6A5521E14B47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7F37B087-0A92-48AF-9DB1-EC02078EA17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9CBC2827-4F00-4781-A1D6-0C5049C828B1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CB875E24-53DA-486F-A58C-BA2130B55DB9}"/>
                </a:ext>
              </a:extLst>
            </p:cNvPr>
            <p:cNvSpPr txBox="1"/>
            <p:nvPr/>
          </p:nvSpPr>
          <p:spPr>
            <a:xfrm>
              <a:off x="10978547" y="4349754"/>
              <a:ext cx="527923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DCC6DBB1-A0D7-44D6-9D97-362F6317334A}"/>
                </a:ext>
              </a:extLst>
            </p:cNvPr>
            <p:cNvSpPr txBox="1"/>
            <p:nvPr/>
          </p:nvSpPr>
          <p:spPr>
            <a:xfrm>
              <a:off x="10978546" y="4729252"/>
              <a:ext cx="527922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680FFA65-4FFF-4B91-BA71-74974F017CBF}"/>
                </a:ext>
              </a:extLst>
            </p:cNvPr>
            <p:cNvSpPr txBox="1"/>
            <p:nvPr/>
          </p:nvSpPr>
          <p:spPr>
            <a:xfrm>
              <a:off x="10978546" y="5108750"/>
              <a:ext cx="527922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BCB4244F-2985-4763-B039-5672B80530C8}"/>
                </a:ext>
              </a:extLst>
            </p:cNvPr>
            <p:cNvSpPr txBox="1"/>
            <p:nvPr/>
          </p:nvSpPr>
          <p:spPr>
            <a:xfrm>
              <a:off x="10978546" y="5480171"/>
              <a:ext cx="527922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99CA954A-5229-4D68-A171-D6D0D0C75015}"/>
                </a:ext>
              </a:extLst>
            </p:cNvPr>
            <p:cNvSpPr txBox="1"/>
            <p:nvPr/>
          </p:nvSpPr>
          <p:spPr>
            <a:xfrm>
              <a:off x="10978545" y="5851592"/>
              <a:ext cx="527922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Legend</a:t>
              </a:r>
            </a:p>
          </p:txBody>
        </p:sp>
      </p:grp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416052" y="172212"/>
            <a:ext cx="7021853" cy="73152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72108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7" r:id="rId1"/>
    <p:sldLayoutId id="2147483848" r:id="rId2"/>
    <p:sldLayoutId id="2147483849" r:id="rId3"/>
    <p:sldLayoutId id="2147483850" r:id="rId4"/>
    <p:sldLayoutId id="2147483851" r:id="rId5"/>
    <p:sldLayoutId id="2147483852" r:id="rId6"/>
    <p:sldLayoutId id="2147483853" r:id="rId7"/>
    <p:sldLayoutId id="2147483854" r:id="rId8"/>
    <p:sldLayoutId id="2147483855" r:id="rId9"/>
    <p:sldLayoutId id="2147483856" r:id="rId10"/>
    <p:sldLayoutId id="2147483857" r:id="rId11"/>
    <p:sldLayoutId id="2147483858" r:id="rId12"/>
    <p:sldLayoutId id="2147483859" r:id="rId13"/>
    <p:sldLayoutId id="2147483860" r:id="rId14"/>
  </p:sldLayoutIdLst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lang="en-US" sz="1875" b="1" kern="1200" spc="0" baseline="0" dirty="0">
          <a:ln w="6350" cap="flat">
            <a:noFill/>
            <a:miter lim="800000"/>
          </a:ln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2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71450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29184" indent="-157734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45770" indent="-116586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10362" indent="-10972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orient="horz" pos="864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3912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1"/>
            <a:ext cx="9144000" cy="1034320"/>
          </a:xfrm>
          <a:prstGeom prst="rect">
            <a:avLst/>
          </a:prstGeom>
          <a:solidFill>
            <a:srgbClr val="232D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99" b="0" i="0" u="none" strike="noStrike" kern="1200" cap="none" spc="0" normalizeH="0" baseline="0" noProof="0" dirty="0">
              <a:ln>
                <a:noFill/>
              </a:ln>
              <a:solidFill>
                <a:srgbClr val="262F3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828" y="242785"/>
            <a:ext cx="1531051" cy="548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52479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2" r:id="rId1"/>
    <p:sldLayoutId id="2147483863" r:id="rId2"/>
  </p:sldLayoutIdLst>
  <p:txStyles>
    <p:titleStyle>
      <a:lvl1pPr algn="ctr" defTabSz="342900" rtl="0" eaLnBrk="1" latinLnBrk="0" hangingPunct="1">
        <a:lnSpc>
          <a:spcPts val="3000"/>
        </a:lnSpc>
        <a:spcBef>
          <a:spcPct val="0"/>
        </a:spcBef>
        <a:buNone/>
        <a:defRPr sz="3000" kern="1200" cap="all" baseline="0">
          <a:solidFill>
            <a:schemeClr val="tx1"/>
          </a:solidFill>
          <a:latin typeface="ITC Franklin Gothic Heavy"/>
          <a:ea typeface="+mj-ea"/>
          <a:cs typeface="+mj-cs"/>
        </a:defRPr>
      </a:lvl1pPr>
    </p:titleStyle>
    <p:bodyStyle>
      <a:lvl1pPr marL="0" indent="0" algn="l" defTabSz="342900" rtl="0" eaLnBrk="1" latinLnBrk="0" hangingPunct="1">
        <a:spcBef>
          <a:spcPct val="20000"/>
        </a:spcBef>
        <a:buFontTx/>
        <a:buNone/>
        <a:defRPr sz="1800" kern="1200" cap="all">
          <a:solidFill>
            <a:schemeClr val="tx1"/>
          </a:solidFill>
          <a:latin typeface="ITC Franklin Gothic Demi"/>
          <a:ea typeface="+mn-ea"/>
          <a:cs typeface="+mn-cs"/>
        </a:defRPr>
      </a:lvl1pPr>
      <a:lvl2pPr marL="0" indent="0" algn="l" defTabSz="342900" rtl="0" eaLnBrk="1" latinLnBrk="0" hangingPunct="1">
        <a:spcBef>
          <a:spcPct val="20000"/>
        </a:spcBef>
        <a:buFontTx/>
        <a:buNone/>
        <a:defRPr sz="1500" kern="1200">
          <a:solidFill>
            <a:schemeClr val="bg1"/>
          </a:solidFill>
          <a:latin typeface="ITC Franklin Gothic Book"/>
          <a:ea typeface="+mn-ea"/>
          <a:cs typeface="+mn-cs"/>
        </a:defRPr>
      </a:lvl2pPr>
      <a:lvl3pPr marL="8572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bg1"/>
          </a:solidFill>
          <a:latin typeface="ITC Franklin Gothic Book"/>
          <a:ea typeface="+mn-ea"/>
          <a:cs typeface="+mn-cs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500" kern="1200">
          <a:solidFill>
            <a:schemeClr val="bg1"/>
          </a:solidFill>
          <a:latin typeface="ITC Franklin Gothic Book"/>
          <a:ea typeface="+mn-ea"/>
          <a:cs typeface="+mn-cs"/>
        </a:defRPr>
      </a:lvl4pPr>
      <a:lvl5pPr marL="1543050" indent="-171450" algn="l" defTabSz="342900" rtl="0" eaLnBrk="1" latinLnBrk="0" hangingPunct="1">
        <a:spcBef>
          <a:spcPct val="20000"/>
        </a:spcBef>
        <a:buFont typeface="Arial"/>
        <a:buChar char="»"/>
        <a:defRPr sz="1500" kern="1200">
          <a:solidFill>
            <a:schemeClr val="bg1"/>
          </a:solidFill>
          <a:latin typeface="ITC Franklin Gothic Book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1"/>
            <a:ext cx="9144000" cy="1034320"/>
          </a:xfrm>
          <a:prstGeom prst="rect">
            <a:avLst/>
          </a:prstGeom>
          <a:solidFill>
            <a:srgbClr val="232D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666" b="0" i="0" u="none" strike="noStrike" kern="1200" cap="none" spc="0" normalizeH="0" baseline="0" noProof="0">
              <a:ln>
                <a:noFill/>
              </a:ln>
              <a:solidFill>
                <a:srgbClr val="262F3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827" y="242785"/>
            <a:ext cx="1531051" cy="548752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011583" y="5914319"/>
            <a:ext cx="1132417" cy="9436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0599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</p:sldLayoutIdLst>
  <p:txStyles>
    <p:titleStyle>
      <a:lvl1pPr algn="l" defTabSz="457200" rtl="0" eaLnBrk="1" latinLnBrk="0" hangingPunct="1">
        <a:lnSpc>
          <a:spcPts val="4000"/>
        </a:lnSpc>
        <a:spcBef>
          <a:spcPct val="0"/>
        </a:spcBef>
        <a:buNone/>
        <a:defRPr sz="4000" kern="1200" cap="all" baseline="0">
          <a:solidFill>
            <a:schemeClr val="tx1"/>
          </a:solidFill>
          <a:latin typeface="ITC Franklin Gothic Heavy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Tx/>
        <a:buNone/>
        <a:defRPr sz="2400" kern="1200" cap="all">
          <a:solidFill>
            <a:schemeClr val="tx1"/>
          </a:solidFill>
          <a:latin typeface="ITC Franklin Gothic Demi"/>
          <a:ea typeface="+mn-ea"/>
          <a:cs typeface="+mn-cs"/>
        </a:defRPr>
      </a:lvl1pPr>
      <a:lvl2pPr marL="0" indent="0" algn="l" defTabSz="457200" rtl="0" eaLnBrk="1" latinLnBrk="0" hangingPunct="1">
        <a:spcBef>
          <a:spcPct val="20000"/>
        </a:spcBef>
        <a:buFontTx/>
        <a:buNone/>
        <a:defRPr sz="2000" kern="1200">
          <a:solidFill>
            <a:schemeClr val="bg1"/>
          </a:solidFill>
          <a:latin typeface="ITC Franklin Gothic Book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bg1"/>
          </a:solidFill>
          <a:latin typeface="ITC Franklin Gothic Book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bg1"/>
          </a:solidFill>
          <a:latin typeface="ITC Franklin Gothic Book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bg1"/>
          </a:solidFill>
          <a:latin typeface="ITC Franklin Gothic Book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1"/>
            <a:ext cx="9144000" cy="1034320"/>
          </a:xfrm>
          <a:prstGeom prst="rect">
            <a:avLst/>
          </a:prstGeom>
          <a:solidFill>
            <a:srgbClr val="232D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666" b="0" i="0" u="none" strike="noStrike" kern="1200" cap="none" spc="0" normalizeH="0" baseline="0" noProof="0">
              <a:ln>
                <a:noFill/>
              </a:ln>
              <a:solidFill>
                <a:srgbClr val="262F3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827" y="242785"/>
            <a:ext cx="1531051" cy="548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28831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</p:sldLayoutIdLst>
  <p:txStyles>
    <p:titleStyle>
      <a:lvl1pPr algn="ctr" defTabSz="457200" rtl="0" eaLnBrk="1" latinLnBrk="0" hangingPunct="1">
        <a:lnSpc>
          <a:spcPts val="4000"/>
        </a:lnSpc>
        <a:spcBef>
          <a:spcPct val="0"/>
        </a:spcBef>
        <a:buNone/>
        <a:defRPr sz="4000" kern="1200" cap="all" baseline="0">
          <a:solidFill>
            <a:schemeClr val="tx1"/>
          </a:solidFill>
          <a:latin typeface="ITC Franklin Gothic Heavy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Tx/>
        <a:buNone/>
        <a:defRPr sz="2400" kern="1200" cap="all">
          <a:solidFill>
            <a:schemeClr val="tx1"/>
          </a:solidFill>
          <a:latin typeface="ITC Franklin Gothic Demi"/>
          <a:ea typeface="+mn-ea"/>
          <a:cs typeface="+mn-cs"/>
        </a:defRPr>
      </a:lvl1pPr>
      <a:lvl2pPr marL="0" indent="0" algn="l" defTabSz="457200" rtl="0" eaLnBrk="1" latinLnBrk="0" hangingPunct="1">
        <a:spcBef>
          <a:spcPct val="20000"/>
        </a:spcBef>
        <a:buFontTx/>
        <a:buNone/>
        <a:defRPr sz="2000" kern="1200">
          <a:solidFill>
            <a:schemeClr val="bg1"/>
          </a:solidFill>
          <a:latin typeface="ITC Franklin Gothic Book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bg1"/>
          </a:solidFill>
          <a:latin typeface="ITC Franklin Gothic Book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bg1"/>
          </a:solidFill>
          <a:latin typeface="ITC Franklin Gothic Book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bg1"/>
          </a:solidFill>
          <a:latin typeface="ITC Franklin Gothic Book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27452"/>
            <a:ext cx="9144000" cy="3746500"/>
          </a:xfrm>
          <a:prstGeom prst="rect">
            <a:avLst/>
          </a:prstGeom>
        </p:spPr>
      </p:pic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713106" y="2124272"/>
            <a:ext cx="8025636" cy="482731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713106" y="981268"/>
            <a:ext cx="802563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0" y="6473952"/>
            <a:ext cx="9144000" cy="384048"/>
          </a:xfrm>
          <a:prstGeom prst="rect">
            <a:avLst/>
          </a:prstGeom>
          <a:solidFill>
            <a:srgbClr val="232D4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0E101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8597" y="6026188"/>
            <a:ext cx="1189013" cy="568214"/>
          </a:xfrm>
          <a:prstGeom prst="rect">
            <a:avLst/>
          </a:prstGeom>
        </p:spPr>
      </p:pic>
    </p:spTree>
    <p:custDataLst>
      <p:tags r:id="rId5"/>
    </p:custDataLst>
    <p:extLst>
      <p:ext uri="{BB962C8B-B14F-4D97-AF65-F5344CB8AC3E}">
        <p14:creationId xmlns:p14="http://schemas.microsoft.com/office/powerpoint/2010/main" val="25366943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75" r:id="rId2"/>
    <p:sldLayoutId id="2147483876" r:id="rId3"/>
  </p:sldLayoutIdLst>
  <p:txStyles>
    <p:titleStyle>
      <a:lvl1pPr algn="l" defTabSz="257175" rtl="0" eaLnBrk="1" latinLnBrk="0" hangingPunct="1">
        <a:lnSpc>
          <a:spcPts val="2250"/>
        </a:lnSpc>
        <a:spcBef>
          <a:spcPct val="0"/>
        </a:spcBef>
        <a:buNone/>
        <a:defRPr sz="2250" b="1" i="0" kern="1200" cap="none" baseline="0">
          <a:solidFill>
            <a:srgbClr val="EB5F0C"/>
          </a:solidFill>
          <a:latin typeface="ITC Franklin Gothic Std Med" panose="020B0604030503020204" pitchFamily="34" charset="0"/>
          <a:ea typeface="ITC Franklin Gothic Std Med" panose="020B0604030503020204" pitchFamily="34" charset="0"/>
          <a:cs typeface="Arial" panose="020B0604020202020204" pitchFamily="34" charset="0"/>
        </a:defRPr>
      </a:lvl1pPr>
    </p:titleStyle>
    <p:bodyStyle>
      <a:lvl1pPr marL="0" indent="0" algn="l" defTabSz="257175" rtl="0" eaLnBrk="1" latinLnBrk="0" hangingPunct="1">
        <a:spcBef>
          <a:spcPct val="20000"/>
        </a:spcBef>
        <a:buFontTx/>
        <a:buNone/>
        <a:defRPr sz="1350" b="0" i="0" kern="1200" cap="none" baseline="0">
          <a:solidFill>
            <a:srgbClr val="EB5F0C"/>
          </a:solidFill>
          <a:latin typeface="ITC Franklin Gothic Std Med" panose="020B0604030503020204" pitchFamily="34" charset="0"/>
          <a:ea typeface="ITC Franklin Gothic Std Med" panose="020B0604030503020204" pitchFamily="34" charset="0"/>
          <a:cs typeface="Arial" panose="020B0604020202020204" pitchFamily="34" charset="0"/>
        </a:defRPr>
      </a:lvl1pPr>
      <a:lvl2pPr marL="0" indent="0" algn="l" defTabSz="257175" rtl="0" eaLnBrk="1" latinLnBrk="0" hangingPunct="1">
        <a:spcBef>
          <a:spcPct val="20000"/>
        </a:spcBef>
        <a:buFontTx/>
        <a:buNone/>
        <a:defRPr sz="1125" kern="1200">
          <a:solidFill>
            <a:schemeClr val="bg1"/>
          </a:solidFill>
          <a:latin typeface="ITC Franklin Gothic Book"/>
          <a:ea typeface="+mn-ea"/>
          <a:cs typeface="+mn-cs"/>
        </a:defRPr>
      </a:lvl2pPr>
      <a:lvl3pPr marL="642938" indent="-128588" algn="l" defTabSz="257175" rtl="0" eaLnBrk="1" latinLnBrk="0" hangingPunct="1">
        <a:spcBef>
          <a:spcPct val="20000"/>
        </a:spcBef>
        <a:buFont typeface="Arial"/>
        <a:buChar char="•"/>
        <a:defRPr sz="1125" kern="1200">
          <a:solidFill>
            <a:schemeClr val="bg1"/>
          </a:solidFill>
          <a:latin typeface="ITC Franklin Gothic Book"/>
          <a:ea typeface="+mn-ea"/>
          <a:cs typeface="+mn-cs"/>
        </a:defRPr>
      </a:lvl3pPr>
      <a:lvl4pPr marL="900113" indent="-128588" algn="l" defTabSz="257175" rtl="0" eaLnBrk="1" latinLnBrk="0" hangingPunct="1">
        <a:spcBef>
          <a:spcPct val="20000"/>
        </a:spcBef>
        <a:buFont typeface="Arial"/>
        <a:buChar char="–"/>
        <a:defRPr sz="1125" kern="1200">
          <a:solidFill>
            <a:schemeClr val="bg1"/>
          </a:solidFill>
          <a:latin typeface="ITC Franklin Gothic Book"/>
          <a:ea typeface="+mn-ea"/>
          <a:cs typeface="+mn-cs"/>
        </a:defRPr>
      </a:lvl4pPr>
      <a:lvl5pPr marL="1157288" indent="-128588" algn="l" defTabSz="257175" rtl="0" eaLnBrk="1" latinLnBrk="0" hangingPunct="1">
        <a:spcBef>
          <a:spcPct val="20000"/>
        </a:spcBef>
        <a:buFont typeface="Arial"/>
        <a:buChar char="»"/>
        <a:defRPr sz="1125" kern="1200">
          <a:solidFill>
            <a:schemeClr val="bg1"/>
          </a:solidFill>
          <a:latin typeface="ITC Franklin Gothic Book"/>
          <a:ea typeface="+mn-ea"/>
          <a:cs typeface="+mn-cs"/>
        </a:defRPr>
      </a:lvl5pPr>
      <a:lvl6pPr marL="1414463" indent="-128588" algn="l" defTabSz="257175" rtl="0" eaLnBrk="1" latinLnBrk="0" hangingPunct="1">
        <a:spcBef>
          <a:spcPct val="20000"/>
        </a:spcBef>
        <a:buFont typeface="Arial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257175" rtl="0" eaLnBrk="1" latinLnBrk="0" hangingPunct="1">
        <a:spcBef>
          <a:spcPct val="20000"/>
        </a:spcBef>
        <a:buFont typeface="Arial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257175" rtl="0" eaLnBrk="1" latinLnBrk="0" hangingPunct="1">
        <a:spcBef>
          <a:spcPct val="20000"/>
        </a:spcBef>
        <a:buFont typeface="Arial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257175" rtl="0" eaLnBrk="1" latinLnBrk="0" hangingPunct="1">
        <a:spcBef>
          <a:spcPct val="20000"/>
        </a:spcBef>
        <a:buFont typeface="Arial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27452"/>
            <a:ext cx="9144000" cy="3746500"/>
          </a:xfrm>
          <a:prstGeom prst="rect">
            <a:avLst/>
          </a:prstGeom>
        </p:spPr>
      </p:pic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713106" y="2124272"/>
            <a:ext cx="8025636" cy="482731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713106" y="981268"/>
            <a:ext cx="802563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0" y="6473952"/>
            <a:ext cx="9144000" cy="384048"/>
          </a:xfrm>
          <a:prstGeom prst="rect">
            <a:avLst/>
          </a:prstGeom>
          <a:solidFill>
            <a:srgbClr val="E57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0E101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9571" y="6026188"/>
            <a:ext cx="1189013" cy="568214"/>
          </a:xfrm>
          <a:prstGeom prst="rect">
            <a:avLst/>
          </a:prstGeom>
        </p:spPr>
      </p:pic>
    </p:spTree>
    <p:custDataLst>
      <p:tags r:id="rId4"/>
    </p:custDataLst>
    <p:extLst>
      <p:ext uri="{BB962C8B-B14F-4D97-AF65-F5344CB8AC3E}">
        <p14:creationId xmlns:p14="http://schemas.microsoft.com/office/powerpoint/2010/main" val="8175906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8" r:id="rId1"/>
    <p:sldLayoutId id="2147483879" r:id="rId2"/>
  </p:sldLayoutIdLst>
  <p:txStyles>
    <p:titleStyle>
      <a:lvl1pPr algn="l" defTabSz="257175" rtl="0" eaLnBrk="1" latinLnBrk="0" hangingPunct="1">
        <a:lnSpc>
          <a:spcPts val="2250"/>
        </a:lnSpc>
        <a:spcBef>
          <a:spcPct val="0"/>
        </a:spcBef>
        <a:buNone/>
        <a:defRPr sz="2250" b="1" i="0" kern="1200" cap="none" baseline="0">
          <a:solidFill>
            <a:srgbClr val="EB5F0C"/>
          </a:solidFill>
          <a:latin typeface="ITC Franklin Gothic Std Med" panose="020B0604030503020204" pitchFamily="34" charset="0"/>
          <a:ea typeface="ITC Franklin Gothic Std Med" panose="020B0604030503020204" pitchFamily="34" charset="0"/>
          <a:cs typeface="Arial" panose="020B0604020202020204" pitchFamily="34" charset="0"/>
        </a:defRPr>
      </a:lvl1pPr>
    </p:titleStyle>
    <p:bodyStyle>
      <a:lvl1pPr marL="0" indent="0" algn="l" defTabSz="257175" rtl="0" eaLnBrk="1" latinLnBrk="0" hangingPunct="1">
        <a:spcBef>
          <a:spcPct val="20000"/>
        </a:spcBef>
        <a:buFontTx/>
        <a:buNone/>
        <a:defRPr sz="1350" b="0" i="0" kern="1200" cap="none" baseline="0">
          <a:solidFill>
            <a:srgbClr val="EB5F0C"/>
          </a:solidFill>
          <a:latin typeface="ITC Franklin Gothic Std Med" panose="020B0604030503020204" pitchFamily="34" charset="0"/>
          <a:ea typeface="ITC Franklin Gothic Std Med" panose="020B0604030503020204" pitchFamily="34" charset="0"/>
          <a:cs typeface="Arial" panose="020B0604020202020204" pitchFamily="34" charset="0"/>
        </a:defRPr>
      </a:lvl1pPr>
      <a:lvl2pPr marL="0" indent="0" algn="l" defTabSz="257175" rtl="0" eaLnBrk="1" latinLnBrk="0" hangingPunct="1">
        <a:spcBef>
          <a:spcPct val="20000"/>
        </a:spcBef>
        <a:buFontTx/>
        <a:buNone/>
        <a:defRPr sz="1125" kern="1200">
          <a:solidFill>
            <a:schemeClr val="bg1"/>
          </a:solidFill>
          <a:latin typeface="ITC Franklin Gothic Book"/>
          <a:ea typeface="+mn-ea"/>
          <a:cs typeface="+mn-cs"/>
        </a:defRPr>
      </a:lvl2pPr>
      <a:lvl3pPr marL="642938" indent="-128588" algn="l" defTabSz="257175" rtl="0" eaLnBrk="1" latinLnBrk="0" hangingPunct="1">
        <a:spcBef>
          <a:spcPct val="20000"/>
        </a:spcBef>
        <a:buFont typeface="Arial"/>
        <a:buChar char="•"/>
        <a:defRPr sz="1125" kern="1200">
          <a:solidFill>
            <a:schemeClr val="bg1"/>
          </a:solidFill>
          <a:latin typeface="ITC Franklin Gothic Book"/>
          <a:ea typeface="+mn-ea"/>
          <a:cs typeface="+mn-cs"/>
        </a:defRPr>
      </a:lvl3pPr>
      <a:lvl4pPr marL="900113" indent="-128588" algn="l" defTabSz="257175" rtl="0" eaLnBrk="1" latinLnBrk="0" hangingPunct="1">
        <a:spcBef>
          <a:spcPct val="20000"/>
        </a:spcBef>
        <a:buFont typeface="Arial"/>
        <a:buChar char="–"/>
        <a:defRPr sz="1125" kern="1200">
          <a:solidFill>
            <a:schemeClr val="bg1"/>
          </a:solidFill>
          <a:latin typeface="ITC Franklin Gothic Book"/>
          <a:ea typeface="+mn-ea"/>
          <a:cs typeface="+mn-cs"/>
        </a:defRPr>
      </a:lvl4pPr>
      <a:lvl5pPr marL="1157288" indent="-128588" algn="l" defTabSz="257175" rtl="0" eaLnBrk="1" latinLnBrk="0" hangingPunct="1">
        <a:spcBef>
          <a:spcPct val="20000"/>
        </a:spcBef>
        <a:buFont typeface="Arial"/>
        <a:buChar char="»"/>
        <a:defRPr sz="1125" kern="1200">
          <a:solidFill>
            <a:schemeClr val="bg1"/>
          </a:solidFill>
          <a:latin typeface="ITC Franklin Gothic Book"/>
          <a:ea typeface="+mn-ea"/>
          <a:cs typeface="+mn-cs"/>
        </a:defRPr>
      </a:lvl5pPr>
      <a:lvl6pPr marL="1414463" indent="-128588" algn="l" defTabSz="257175" rtl="0" eaLnBrk="1" latinLnBrk="0" hangingPunct="1">
        <a:spcBef>
          <a:spcPct val="20000"/>
        </a:spcBef>
        <a:buFont typeface="Arial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257175" rtl="0" eaLnBrk="1" latinLnBrk="0" hangingPunct="1">
        <a:spcBef>
          <a:spcPct val="20000"/>
        </a:spcBef>
        <a:buFont typeface="Arial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257175" rtl="0" eaLnBrk="1" latinLnBrk="0" hangingPunct="1">
        <a:spcBef>
          <a:spcPct val="20000"/>
        </a:spcBef>
        <a:buFont typeface="Arial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257175" rtl="0" eaLnBrk="1" latinLnBrk="0" hangingPunct="1">
        <a:spcBef>
          <a:spcPct val="20000"/>
        </a:spcBef>
        <a:buFont typeface="Arial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232D4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0E101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956052"/>
            <a:ext cx="9144001" cy="3517900"/>
          </a:xfrm>
          <a:prstGeom prst="rect">
            <a:avLst/>
          </a:prstGeom>
        </p:spPr>
      </p:pic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713106" y="2124272"/>
            <a:ext cx="8025636" cy="482731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713106" y="981268"/>
            <a:ext cx="802563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0" y="6473952"/>
            <a:ext cx="9144000" cy="384048"/>
          </a:xfrm>
          <a:prstGeom prst="rect">
            <a:avLst/>
          </a:prstGeom>
          <a:solidFill>
            <a:srgbClr val="E57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0E101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2979" y="6001960"/>
            <a:ext cx="1194204" cy="570695"/>
          </a:xfrm>
          <a:prstGeom prst="rect">
            <a:avLst/>
          </a:prstGeom>
        </p:spPr>
      </p:pic>
    </p:spTree>
    <p:custDataLst>
      <p:tags r:id="rId5"/>
    </p:custDataLst>
    <p:extLst>
      <p:ext uri="{BB962C8B-B14F-4D97-AF65-F5344CB8AC3E}">
        <p14:creationId xmlns:p14="http://schemas.microsoft.com/office/powerpoint/2010/main" val="25977913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  <p:sldLayoutId id="2147483882" r:id="rId2"/>
    <p:sldLayoutId id="2147483883" r:id="rId3"/>
  </p:sldLayoutIdLst>
  <p:txStyles>
    <p:titleStyle>
      <a:lvl1pPr algn="l" defTabSz="257175" rtl="0" eaLnBrk="1" latinLnBrk="0" hangingPunct="1">
        <a:lnSpc>
          <a:spcPts val="2250"/>
        </a:lnSpc>
        <a:spcBef>
          <a:spcPct val="0"/>
        </a:spcBef>
        <a:buNone/>
        <a:defRPr sz="2250" b="1" i="0" kern="1200" cap="none" baseline="0">
          <a:solidFill>
            <a:schemeClr val="bg2"/>
          </a:solidFill>
          <a:latin typeface="ITC Franklin Gothic Std Med" panose="020B0604030503020204" pitchFamily="34" charset="0"/>
          <a:ea typeface="ITC Franklin Gothic Std Med" panose="020B0604030503020204" pitchFamily="34" charset="0"/>
          <a:cs typeface="Arial" panose="020B0604020202020204" pitchFamily="34" charset="0"/>
        </a:defRPr>
      </a:lvl1pPr>
    </p:titleStyle>
    <p:bodyStyle>
      <a:lvl1pPr marL="0" indent="0" algn="l" defTabSz="257175" rtl="0" eaLnBrk="1" latinLnBrk="0" hangingPunct="1">
        <a:spcBef>
          <a:spcPct val="20000"/>
        </a:spcBef>
        <a:buFontTx/>
        <a:buNone/>
        <a:defRPr sz="1350" b="0" i="0" kern="1200" cap="none" baseline="0">
          <a:solidFill>
            <a:schemeClr val="bg2"/>
          </a:solidFill>
          <a:latin typeface="ITC Franklin Gothic Std Med" panose="020B0604030503020204" pitchFamily="34" charset="0"/>
          <a:ea typeface="ITC Franklin Gothic Std Med" panose="020B0604030503020204" pitchFamily="34" charset="0"/>
          <a:cs typeface="Arial" panose="020B0604020202020204" pitchFamily="34" charset="0"/>
        </a:defRPr>
      </a:lvl1pPr>
      <a:lvl2pPr marL="0" indent="0" algn="l" defTabSz="257175" rtl="0" eaLnBrk="1" latinLnBrk="0" hangingPunct="1">
        <a:spcBef>
          <a:spcPct val="20000"/>
        </a:spcBef>
        <a:buFontTx/>
        <a:buNone/>
        <a:defRPr sz="1125" kern="1200">
          <a:solidFill>
            <a:schemeClr val="bg1"/>
          </a:solidFill>
          <a:latin typeface="ITC Franklin Gothic Book"/>
          <a:ea typeface="+mn-ea"/>
          <a:cs typeface="+mn-cs"/>
        </a:defRPr>
      </a:lvl2pPr>
      <a:lvl3pPr marL="642938" indent="-128588" algn="l" defTabSz="257175" rtl="0" eaLnBrk="1" latinLnBrk="0" hangingPunct="1">
        <a:spcBef>
          <a:spcPct val="20000"/>
        </a:spcBef>
        <a:buFont typeface="Arial"/>
        <a:buChar char="•"/>
        <a:defRPr sz="1125" kern="1200">
          <a:solidFill>
            <a:schemeClr val="bg1"/>
          </a:solidFill>
          <a:latin typeface="ITC Franklin Gothic Book"/>
          <a:ea typeface="+mn-ea"/>
          <a:cs typeface="+mn-cs"/>
        </a:defRPr>
      </a:lvl3pPr>
      <a:lvl4pPr marL="900113" indent="-128588" algn="l" defTabSz="257175" rtl="0" eaLnBrk="1" latinLnBrk="0" hangingPunct="1">
        <a:spcBef>
          <a:spcPct val="20000"/>
        </a:spcBef>
        <a:buFont typeface="Arial"/>
        <a:buChar char="–"/>
        <a:defRPr sz="1125" kern="1200">
          <a:solidFill>
            <a:schemeClr val="bg1"/>
          </a:solidFill>
          <a:latin typeface="ITC Franklin Gothic Book"/>
          <a:ea typeface="+mn-ea"/>
          <a:cs typeface="+mn-cs"/>
        </a:defRPr>
      </a:lvl4pPr>
      <a:lvl5pPr marL="1157288" indent="-128588" algn="l" defTabSz="257175" rtl="0" eaLnBrk="1" latinLnBrk="0" hangingPunct="1">
        <a:spcBef>
          <a:spcPct val="20000"/>
        </a:spcBef>
        <a:buFont typeface="Arial"/>
        <a:buChar char="»"/>
        <a:defRPr sz="1125" kern="1200">
          <a:solidFill>
            <a:schemeClr val="bg1"/>
          </a:solidFill>
          <a:latin typeface="ITC Franklin Gothic Book"/>
          <a:ea typeface="+mn-ea"/>
          <a:cs typeface="+mn-cs"/>
        </a:defRPr>
      </a:lvl5pPr>
      <a:lvl6pPr marL="1414463" indent="-128588" algn="l" defTabSz="257175" rtl="0" eaLnBrk="1" latinLnBrk="0" hangingPunct="1">
        <a:spcBef>
          <a:spcPct val="20000"/>
        </a:spcBef>
        <a:buFont typeface="Arial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257175" rtl="0" eaLnBrk="1" latinLnBrk="0" hangingPunct="1">
        <a:spcBef>
          <a:spcPct val="20000"/>
        </a:spcBef>
        <a:buFont typeface="Arial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257175" rtl="0" eaLnBrk="1" latinLnBrk="0" hangingPunct="1">
        <a:spcBef>
          <a:spcPct val="20000"/>
        </a:spcBef>
        <a:buFont typeface="Arial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257175" rtl="0" eaLnBrk="1" latinLnBrk="0" hangingPunct="1">
        <a:spcBef>
          <a:spcPct val="20000"/>
        </a:spcBef>
        <a:buFont typeface="Arial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1"/>
            <a:ext cx="9144000" cy="10343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666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827" y="242785"/>
            <a:ext cx="1531051" cy="548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93382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25" r:id="rId2"/>
    <p:sldLayoutId id="2147483717" r:id="rId3"/>
  </p:sldLayoutIdLst>
  <p:txStyles>
    <p:titleStyle>
      <a:lvl1pPr algn="ctr" defTabSz="457200" rtl="0" eaLnBrk="1" latinLnBrk="0" hangingPunct="1">
        <a:lnSpc>
          <a:spcPts val="4000"/>
        </a:lnSpc>
        <a:spcBef>
          <a:spcPct val="0"/>
        </a:spcBef>
        <a:buNone/>
        <a:defRPr sz="4000" kern="1200" cap="all" baseline="0">
          <a:solidFill>
            <a:schemeClr val="tx1"/>
          </a:solidFill>
          <a:latin typeface="ITC Franklin Gothic Heavy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Tx/>
        <a:buNone/>
        <a:defRPr sz="2400" kern="1200" cap="all">
          <a:solidFill>
            <a:schemeClr val="tx1"/>
          </a:solidFill>
          <a:latin typeface="ITC Franklin Gothic Demi"/>
          <a:ea typeface="+mn-ea"/>
          <a:cs typeface="+mn-cs"/>
        </a:defRPr>
      </a:lvl1pPr>
      <a:lvl2pPr marL="0" indent="0" algn="l" defTabSz="457200" rtl="0" eaLnBrk="1" latinLnBrk="0" hangingPunct="1">
        <a:spcBef>
          <a:spcPct val="20000"/>
        </a:spcBef>
        <a:buFontTx/>
        <a:buNone/>
        <a:defRPr sz="2000" kern="1200">
          <a:solidFill>
            <a:schemeClr val="bg1"/>
          </a:solidFill>
          <a:latin typeface="ITC Franklin Gothic Book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bg1"/>
          </a:solidFill>
          <a:latin typeface="ITC Franklin Gothic Book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bg1"/>
          </a:solidFill>
          <a:latin typeface="ITC Franklin Gothic Book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bg1"/>
          </a:solidFill>
          <a:latin typeface="ITC Franklin Gothic Book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1"/>
            <a:ext cx="9144000" cy="1034320"/>
          </a:xfrm>
          <a:prstGeom prst="rect">
            <a:avLst/>
          </a:prstGeom>
          <a:solidFill>
            <a:srgbClr val="232D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99" b="0" i="0" u="none" strike="noStrike" kern="1200" cap="none" spc="0" normalizeH="0" baseline="0" noProof="0">
              <a:ln>
                <a:noFill/>
              </a:ln>
              <a:solidFill>
                <a:srgbClr val="262F3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828" y="242785"/>
            <a:ext cx="1531051" cy="548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5351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7" r:id="rId1"/>
    <p:sldLayoutId id="2147483898" r:id="rId2"/>
    <p:sldLayoutId id="2147483899" r:id="rId3"/>
  </p:sldLayoutIdLst>
  <p:txStyles>
    <p:titleStyle>
      <a:lvl1pPr algn="ctr" defTabSz="342900" rtl="0" eaLnBrk="1" latinLnBrk="0" hangingPunct="1">
        <a:lnSpc>
          <a:spcPts val="3000"/>
        </a:lnSpc>
        <a:spcBef>
          <a:spcPct val="0"/>
        </a:spcBef>
        <a:buNone/>
        <a:defRPr sz="3000" kern="1200" cap="all" baseline="0">
          <a:solidFill>
            <a:schemeClr val="tx1"/>
          </a:solidFill>
          <a:latin typeface="ITC Franklin Gothic Heavy"/>
          <a:ea typeface="+mj-ea"/>
          <a:cs typeface="+mj-cs"/>
        </a:defRPr>
      </a:lvl1pPr>
    </p:titleStyle>
    <p:bodyStyle>
      <a:lvl1pPr marL="0" indent="0" algn="l" defTabSz="342900" rtl="0" eaLnBrk="1" latinLnBrk="0" hangingPunct="1">
        <a:spcBef>
          <a:spcPct val="20000"/>
        </a:spcBef>
        <a:buFontTx/>
        <a:buNone/>
        <a:defRPr sz="1800" kern="1200" cap="all">
          <a:solidFill>
            <a:schemeClr val="tx1"/>
          </a:solidFill>
          <a:latin typeface="ITC Franklin Gothic Demi"/>
          <a:ea typeface="+mn-ea"/>
          <a:cs typeface="+mn-cs"/>
        </a:defRPr>
      </a:lvl1pPr>
      <a:lvl2pPr marL="0" indent="0" algn="l" defTabSz="342900" rtl="0" eaLnBrk="1" latinLnBrk="0" hangingPunct="1">
        <a:spcBef>
          <a:spcPct val="20000"/>
        </a:spcBef>
        <a:buFontTx/>
        <a:buNone/>
        <a:defRPr sz="1500" kern="1200">
          <a:solidFill>
            <a:schemeClr val="bg1"/>
          </a:solidFill>
          <a:latin typeface="ITC Franklin Gothic Book"/>
          <a:ea typeface="+mn-ea"/>
          <a:cs typeface="+mn-cs"/>
        </a:defRPr>
      </a:lvl2pPr>
      <a:lvl3pPr marL="8572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bg1"/>
          </a:solidFill>
          <a:latin typeface="ITC Franklin Gothic Book"/>
          <a:ea typeface="+mn-ea"/>
          <a:cs typeface="+mn-cs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500" kern="1200">
          <a:solidFill>
            <a:schemeClr val="bg1"/>
          </a:solidFill>
          <a:latin typeface="ITC Franklin Gothic Book"/>
          <a:ea typeface="+mn-ea"/>
          <a:cs typeface="+mn-cs"/>
        </a:defRPr>
      </a:lvl4pPr>
      <a:lvl5pPr marL="1543050" indent="-171450" algn="l" defTabSz="342900" rtl="0" eaLnBrk="1" latinLnBrk="0" hangingPunct="1">
        <a:spcBef>
          <a:spcPct val="20000"/>
        </a:spcBef>
        <a:buFont typeface="Arial"/>
        <a:buChar char="»"/>
        <a:defRPr sz="1500" kern="1200">
          <a:solidFill>
            <a:schemeClr val="bg1"/>
          </a:solidFill>
          <a:latin typeface="ITC Franklin Gothic Book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1"/>
            <a:ext cx="9144000" cy="1034320"/>
          </a:xfrm>
          <a:prstGeom prst="rect">
            <a:avLst/>
          </a:prstGeom>
          <a:solidFill>
            <a:srgbClr val="232D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99" b="0" i="0" u="none" strike="noStrike" kern="1200" cap="none" spc="0" normalizeH="0" baseline="0" noProof="0">
              <a:ln>
                <a:noFill/>
              </a:ln>
              <a:solidFill>
                <a:srgbClr val="262F3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B330CB6-969A-2940-A17A-39FFFE92466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9712" y="242785"/>
            <a:ext cx="1148288" cy="548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07975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1" r:id="rId1"/>
    <p:sldLayoutId id="2147483902" r:id="rId2"/>
  </p:sldLayoutIdLst>
  <p:txStyles>
    <p:titleStyle>
      <a:lvl1pPr algn="ctr" defTabSz="342900" rtl="0" eaLnBrk="1" latinLnBrk="0" hangingPunct="1">
        <a:lnSpc>
          <a:spcPts val="3000"/>
        </a:lnSpc>
        <a:spcBef>
          <a:spcPct val="0"/>
        </a:spcBef>
        <a:buNone/>
        <a:defRPr sz="3000" kern="1200" cap="all" baseline="0">
          <a:solidFill>
            <a:schemeClr val="tx1"/>
          </a:solidFill>
          <a:latin typeface="ITC Franklin Gothic Heavy"/>
          <a:ea typeface="+mj-ea"/>
          <a:cs typeface="+mj-cs"/>
        </a:defRPr>
      </a:lvl1pPr>
    </p:titleStyle>
    <p:bodyStyle>
      <a:lvl1pPr marL="0" indent="0" algn="l" defTabSz="342900" rtl="0" eaLnBrk="1" latinLnBrk="0" hangingPunct="1">
        <a:spcBef>
          <a:spcPct val="20000"/>
        </a:spcBef>
        <a:buFontTx/>
        <a:buNone/>
        <a:defRPr sz="1800" kern="1200" cap="all">
          <a:solidFill>
            <a:schemeClr val="tx1"/>
          </a:solidFill>
          <a:latin typeface="ITC Franklin Gothic Demi"/>
          <a:ea typeface="+mn-ea"/>
          <a:cs typeface="+mn-cs"/>
        </a:defRPr>
      </a:lvl1pPr>
      <a:lvl2pPr marL="0" indent="0" algn="l" defTabSz="342900" rtl="0" eaLnBrk="1" latinLnBrk="0" hangingPunct="1">
        <a:spcBef>
          <a:spcPct val="20000"/>
        </a:spcBef>
        <a:buFontTx/>
        <a:buNone/>
        <a:defRPr sz="1500" kern="1200">
          <a:solidFill>
            <a:schemeClr val="bg1"/>
          </a:solidFill>
          <a:latin typeface="ITC Franklin Gothic Book"/>
          <a:ea typeface="+mn-ea"/>
          <a:cs typeface="+mn-cs"/>
        </a:defRPr>
      </a:lvl2pPr>
      <a:lvl3pPr marL="8572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bg1"/>
          </a:solidFill>
          <a:latin typeface="ITC Franklin Gothic Book"/>
          <a:ea typeface="+mn-ea"/>
          <a:cs typeface="+mn-cs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500" kern="1200">
          <a:solidFill>
            <a:schemeClr val="bg1"/>
          </a:solidFill>
          <a:latin typeface="ITC Franklin Gothic Book"/>
          <a:ea typeface="+mn-ea"/>
          <a:cs typeface="+mn-cs"/>
        </a:defRPr>
      </a:lvl4pPr>
      <a:lvl5pPr marL="1543050" indent="-171450" algn="l" defTabSz="342900" rtl="0" eaLnBrk="1" latinLnBrk="0" hangingPunct="1">
        <a:spcBef>
          <a:spcPct val="20000"/>
        </a:spcBef>
        <a:buFont typeface="Arial"/>
        <a:buChar char="»"/>
        <a:defRPr sz="1500" kern="1200">
          <a:solidFill>
            <a:schemeClr val="bg1"/>
          </a:solidFill>
          <a:latin typeface="ITC Franklin Gothic Book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1"/>
            <a:ext cx="9144000" cy="1034320"/>
          </a:xfrm>
          <a:prstGeom prst="rect">
            <a:avLst/>
          </a:prstGeom>
          <a:solidFill>
            <a:srgbClr val="232D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499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B330CB6-969A-2940-A17A-39FFFE92466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9712" y="242785"/>
            <a:ext cx="1148288" cy="548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65949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4" r:id="rId1"/>
    <p:sldLayoutId id="2147483905" r:id="rId2"/>
    <p:sldLayoutId id="2147483906" r:id="rId3"/>
  </p:sldLayoutIdLst>
  <p:txStyles>
    <p:titleStyle>
      <a:lvl1pPr algn="ctr" defTabSz="342900" rtl="0" eaLnBrk="1" latinLnBrk="0" hangingPunct="1">
        <a:lnSpc>
          <a:spcPts val="3000"/>
        </a:lnSpc>
        <a:spcBef>
          <a:spcPct val="0"/>
        </a:spcBef>
        <a:buNone/>
        <a:defRPr sz="3000" kern="1200" cap="all" baseline="0">
          <a:solidFill>
            <a:schemeClr val="tx1"/>
          </a:solidFill>
          <a:latin typeface="ITC Franklin Gothic Heavy"/>
          <a:ea typeface="+mj-ea"/>
          <a:cs typeface="+mj-cs"/>
        </a:defRPr>
      </a:lvl1pPr>
    </p:titleStyle>
    <p:bodyStyle>
      <a:lvl1pPr marL="0" indent="0" algn="l" defTabSz="342900" rtl="0" eaLnBrk="1" latinLnBrk="0" hangingPunct="1">
        <a:spcBef>
          <a:spcPct val="20000"/>
        </a:spcBef>
        <a:buFontTx/>
        <a:buNone/>
        <a:defRPr sz="1800" kern="1200" cap="all">
          <a:solidFill>
            <a:schemeClr val="tx1"/>
          </a:solidFill>
          <a:latin typeface="ITC Franklin Gothic Demi"/>
          <a:ea typeface="+mn-ea"/>
          <a:cs typeface="+mn-cs"/>
        </a:defRPr>
      </a:lvl1pPr>
      <a:lvl2pPr marL="0" indent="0" algn="l" defTabSz="342900" rtl="0" eaLnBrk="1" latinLnBrk="0" hangingPunct="1">
        <a:spcBef>
          <a:spcPct val="20000"/>
        </a:spcBef>
        <a:buFontTx/>
        <a:buNone/>
        <a:defRPr sz="1500" kern="1200">
          <a:solidFill>
            <a:schemeClr val="bg1"/>
          </a:solidFill>
          <a:latin typeface="ITC Franklin Gothic Book"/>
          <a:ea typeface="+mn-ea"/>
          <a:cs typeface="+mn-cs"/>
        </a:defRPr>
      </a:lvl2pPr>
      <a:lvl3pPr marL="8572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bg1"/>
          </a:solidFill>
          <a:latin typeface="ITC Franklin Gothic Book"/>
          <a:ea typeface="+mn-ea"/>
          <a:cs typeface="+mn-cs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500" kern="1200">
          <a:solidFill>
            <a:schemeClr val="bg1"/>
          </a:solidFill>
          <a:latin typeface="ITC Franklin Gothic Book"/>
          <a:ea typeface="+mn-ea"/>
          <a:cs typeface="+mn-cs"/>
        </a:defRPr>
      </a:lvl4pPr>
      <a:lvl5pPr marL="1543050" indent="-171450" algn="l" defTabSz="342900" rtl="0" eaLnBrk="1" latinLnBrk="0" hangingPunct="1">
        <a:spcBef>
          <a:spcPct val="20000"/>
        </a:spcBef>
        <a:buFont typeface="Arial"/>
        <a:buChar char="»"/>
        <a:defRPr sz="1500" kern="1200">
          <a:solidFill>
            <a:schemeClr val="bg1"/>
          </a:solidFill>
          <a:latin typeface="ITC Franklin Gothic Book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1"/>
            <a:ext cx="9144000" cy="10343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499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2D75F3F-0193-7C4F-9303-9B1F47A47DD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9712" y="242785"/>
            <a:ext cx="1148288" cy="548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53948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09" r:id="rId2"/>
    <p:sldLayoutId id="2147483910" r:id="rId3"/>
  </p:sldLayoutIdLst>
  <p:txStyles>
    <p:titleStyle>
      <a:lvl1pPr algn="ctr" defTabSz="342900" rtl="0" eaLnBrk="1" latinLnBrk="0" hangingPunct="1">
        <a:lnSpc>
          <a:spcPts val="3000"/>
        </a:lnSpc>
        <a:spcBef>
          <a:spcPct val="0"/>
        </a:spcBef>
        <a:buNone/>
        <a:defRPr sz="3000" kern="1200" cap="all" baseline="0">
          <a:solidFill>
            <a:schemeClr val="tx1"/>
          </a:solidFill>
          <a:latin typeface="ITC Franklin Gothic Heavy"/>
          <a:ea typeface="+mj-ea"/>
          <a:cs typeface="+mj-cs"/>
        </a:defRPr>
      </a:lvl1pPr>
    </p:titleStyle>
    <p:bodyStyle>
      <a:lvl1pPr marL="0" indent="0" algn="l" defTabSz="342900" rtl="0" eaLnBrk="1" latinLnBrk="0" hangingPunct="1">
        <a:spcBef>
          <a:spcPct val="20000"/>
        </a:spcBef>
        <a:buFontTx/>
        <a:buNone/>
        <a:defRPr sz="1800" kern="1200" cap="all">
          <a:solidFill>
            <a:schemeClr val="tx1"/>
          </a:solidFill>
          <a:latin typeface="ITC Franklin Gothic Demi"/>
          <a:ea typeface="+mn-ea"/>
          <a:cs typeface="+mn-cs"/>
        </a:defRPr>
      </a:lvl1pPr>
      <a:lvl2pPr marL="0" indent="0" algn="l" defTabSz="342900" rtl="0" eaLnBrk="1" latinLnBrk="0" hangingPunct="1">
        <a:spcBef>
          <a:spcPct val="20000"/>
        </a:spcBef>
        <a:buFontTx/>
        <a:buNone/>
        <a:defRPr sz="1500" kern="1200">
          <a:solidFill>
            <a:schemeClr val="bg1"/>
          </a:solidFill>
          <a:latin typeface="ITC Franklin Gothic Book"/>
          <a:ea typeface="+mn-ea"/>
          <a:cs typeface="+mn-cs"/>
        </a:defRPr>
      </a:lvl2pPr>
      <a:lvl3pPr marL="8572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bg1"/>
          </a:solidFill>
          <a:latin typeface="ITC Franklin Gothic Book"/>
          <a:ea typeface="+mn-ea"/>
          <a:cs typeface="+mn-cs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500" kern="1200">
          <a:solidFill>
            <a:schemeClr val="bg1"/>
          </a:solidFill>
          <a:latin typeface="ITC Franklin Gothic Book"/>
          <a:ea typeface="+mn-ea"/>
          <a:cs typeface="+mn-cs"/>
        </a:defRPr>
      </a:lvl4pPr>
      <a:lvl5pPr marL="1543050" indent="-171450" algn="l" defTabSz="342900" rtl="0" eaLnBrk="1" latinLnBrk="0" hangingPunct="1">
        <a:spcBef>
          <a:spcPct val="20000"/>
        </a:spcBef>
        <a:buFont typeface="Arial"/>
        <a:buChar char="»"/>
        <a:defRPr sz="1500" kern="1200">
          <a:solidFill>
            <a:schemeClr val="bg1"/>
          </a:solidFill>
          <a:latin typeface="ITC Franklin Gothic Book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1"/>
            <a:ext cx="9144000" cy="1034320"/>
          </a:xfrm>
          <a:prstGeom prst="rect">
            <a:avLst/>
          </a:prstGeom>
          <a:solidFill>
            <a:srgbClr val="232D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sz="4666" dirty="0">
              <a:solidFill>
                <a:srgbClr val="262F3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827" y="242785"/>
            <a:ext cx="1531051" cy="548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15055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2" r:id="rId1"/>
    <p:sldLayoutId id="2147483913" r:id="rId2"/>
  </p:sldLayoutIdLst>
  <p:txStyles>
    <p:titleStyle>
      <a:lvl1pPr algn="ctr" defTabSz="457200" rtl="0" eaLnBrk="1" latinLnBrk="0" hangingPunct="1">
        <a:lnSpc>
          <a:spcPts val="4000"/>
        </a:lnSpc>
        <a:spcBef>
          <a:spcPct val="0"/>
        </a:spcBef>
        <a:buNone/>
        <a:defRPr sz="4000" kern="1200" cap="all" baseline="0">
          <a:solidFill>
            <a:schemeClr val="tx1"/>
          </a:solidFill>
          <a:latin typeface="ITC Franklin Gothic Heavy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Tx/>
        <a:buNone/>
        <a:defRPr sz="2400" kern="1200" cap="all">
          <a:solidFill>
            <a:schemeClr val="tx1"/>
          </a:solidFill>
          <a:latin typeface="ITC Franklin Gothic Demi"/>
          <a:ea typeface="+mn-ea"/>
          <a:cs typeface="+mn-cs"/>
        </a:defRPr>
      </a:lvl1pPr>
      <a:lvl2pPr marL="0" indent="0" algn="l" defTabSz="457200" rtl="0" eaLnBrk="1" latinLnBrk="0" hangingPunct="1">
        <a:spcBef>
          <a:spcPct val="20000"/>
        </a:spcBef>
        <a:buFontTx/>
        <a:buNone/>
        <a:defRPr sz="2000" kern="1200">
          <a:solidFill>
            <a:schemeClr val="bg1"/>
          </a:solidFill>
          <a:latin typeface="ITC Franklin Gothic Book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bg1"/>
          </a:solidFill>
          <a:latin typeface="ITC Franklin Gothic Book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bg1"/>
          </a:solidFill>
          <a:latin typeface="ITC Franklin Gothic Book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bg1"/>
          </a:solidFill>
          <a:latin typeface="ITC Franklin Gothic Book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1"/>
            <a:ext cx="9144000" cy="1034320"/>
          </a:xfrm>
          <a:prstGeom prst="rect">
            <a:avLst/>
          </a:prstGeom>
          <a:solidFill>
            <a:srgbClr val="232D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666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827" y="242785"/>
            <a:ext cx="1531051" cy="548752"/>
          </a:xfrm>
          <a:prstGeom prst="rect">
            <a:avLst/>
          </a:prstGeom>
        </p:spPr>
      </p:pic>
      <p:sp>
        <p:nvSpPr>
          <p:cNvPr id="9" name="Title Placeholder 7"/>
          <p:cNvSpPr txBox="1">
            <a:spLocks/>
          </p:cNvSpPr>
          <p:nvPr userDrawn="1"/>
        </p:nvSpPr>
        <p:spPr>
          <a:xfrm>
            <a:off x="359764" y="0"/>
            <a:ext cx="6355829" cy="10343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lnSpc>
                <a:spcPts val="4000"/>
              </a:lnSpc>
              <a:spcBef>
                <a:spcPct val="0"/>
              </a:spcBef>
              <a:buNone/>
              <a:defRPr sz="4000" kern="1200" cap="all" baseline="0">
                <a:solidFill>
                  <a:schemeClr val="tx1"/>
                </a:solidFill>
                <a:latin typeface="ITC Franklin Gothic Heavy"/>
                <a:ea typeface="+mj-ea"/>
                <a:cs typeface="+mj-cs"/>
              </a:defRPr>
            </a:lvl1pPr>
          </a:lstStyle>
          <a:p>
            <a:r>
              <a:rPr lang="en-US" sz="1800" b="1" i="0" cap="none" baseline="0" dirty="0">
                <a:solidFill>
                  <a:srgbClr val="FFFFFF"/>
                </a:solidFill>
                <a:latin typeface="Arial" panose="020B0604020202020204" pitchFamily="34" charset="0"/>
                <a:ea typeface="Franklin Gothic Heavy" charset="0"/>
                <a:cs typeface="Arial" panose="020B0604020202020204" pitchFamily="34" charset="0"/>
              </a:rPr>
              <a:t>Click to edit Master optional header</a:t>
            </a:r>
          </a:p>
        </p:txBody>
      </p:sp>
    </p:spTree>
    <p:extLst>
      <p:ext uri="{BB962C8B-B14F-4D97-AF65-F5344CB8AC3E}">
        <p14:creationId xmlns:p14="http://schemas.microsoft.com/office/powerpoint/2010/main" val="26225828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712" r:id="rId2"/>
  </p:sldLayoutIdLst>
  <p:txStyles>
    <p:titleStyle>
      <a:lvl1pPr algn="l" defTabSz="457200" rtl="0" eaLnBrk="1" latinLnBrk="0" hangingPunct="1">
        <a:lnSpc>
          <a:spcPts val="4000"/>
        </a:lnSpc>
        <a:spcBef>
          <a:spcPct val="0"/>
        </a:spcBef>
        <a:buNone/>
        <a:defRPr sz="4000" kern="1200" cap="all" baseline="0">
          <a:solidFill>
            <a:schemeClr val="tx1"/>
          </a:solidFill>
          <a:latin typeface="ITC Franklin Gothic Heavy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Tx/>
        <a:buNone/>
        <a:defRPr sz="2400" kern="1200" cap="all">
          <a:solidFill>
            <a:schemeClr val="tx1"/>
          </a:solidFill>
          <a:latin typeface="ITC Franklin Gothic Demi"/>
          <a:ea typeface="+mn-ea"/>
          <a:cs typeface="+mn-cs"/>
        </a:defRPr>
      </a:lvl1pPr>
      <a:lvl2pPr marL="0" indent="0" algn="l" defTabSz="457200" rtl="0" eaLnBrk="1" latinLnBrk="0" hangingPunct="1">
        <a:spcBef>
          <a:spcPct val="20000"/>
        </a:spcBef>
        <a:buFontTx/>
        <a:buNone/>
        <a:defRPr sz="2000" kern="1200">
          <a:solidFill>
            <a:schemeClr val="bg1"/>
          </a:solidFill>
          <a:latin typeface="ITC Franklin Gothic Book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bg1"/>
          </a:solidFill>
          <a:latin typeface="ITC Franklin Gothic Book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bg1"/>
          </a:solidFill>
          <a:latin typeface="ITC Franklin Gothic Book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bg1"/>
          </a:solidFill>
          <a:latin typeface="ITC Franklin Gothic Book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034321"/>
            <a:ext cx="9144000" cy="582368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666"/>
          </a:p>
        </p:txBody>
      </p:sp>
      <p:sp>
        <p:nvSpPr>
          <p:cNvPr id="5" name="Rectangle 4"/>
          <p:cNvSpPr/>
          <p:nvPr userDrawn="1"/>
        </p:nvSpPr>
        <p:spPr>
          <a:xfrm>
            <a:off x="0" y="1"/>
            <a:ext cx="9144000" cy="1034320"/>
          </a:xfrm>
          <a:prstGeom prst="rect">
            <a:avLst/>
          </a:prstGeom>
          <a:solidFill>
            <a:srgbClr val="232D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666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827" y="242785"/>
            <a:ext cx="1531051" cy="548752"/>
          </a:xfrm>
          <a:prstGeom prst="rect">
            <a:avLst/>
          </a:prstGeom>
        </p:spPr>
      </p:pic>
      <p:sp>
        <p:nvSpPr>
          <p:cNvPr id="9" name="Title Placeholder 7"/>
          <p:cNvSpPr txBox="1">
            <a:spLocks/>
          </p:cNvSpPr>
          <p:nvPr userDrawn="1"/>
        </p:nvSpPr>
        <p:spPr>
          <a:xfrm>
            <a:off x="359764" y="0"/>
            <a:ext cx="6355829" cy="10343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lnSpc>
                <a:spcPts val="4000"/>
              </a:lnSpc>
              <a:spcBef>
                <a:spcPct val="0"/>
              </a:spcBef>
              <a:buNone/>
              <a:defRPr sz="4000" kern="1200" cap="all" baseline="0">
                <a:solidFill>
                  <a:schemeClr val="tx1"/>
                </a:solidFill>
                <a:latin typeface="ITC Franklin Gothic Heavy"/>
                <a:ea typeface="+mj-ea"/>
                <a:cs typeface="+mj-cs"/>
              </a:defRPr>
            </a:lvl1pPr>
          </a:lstStyle>
          <a:p>
            <a:r>
              <a:rPr lang="en-US" sz="1800" b="1" i="0" cap="none" baseline="0" dirty="0">
                <a:solidFill>
                  <a:srgbClr val="FFFFFF"/>
                </a:solidFill>
                <a:latin typeface="Arial" panose="020B0604020202020204" pitchFamily="34" charset="0"/>
                <a:ea typeface="Franklin Gothic Heavy" charset="0"/>
                <a:cs typeface="Arial" panose="020B0604020202020204" pitchFamily="34" charset="0"/>
              </a:rPr>
              <a:t>Click to edit Master optional header</a:t>
            </a:r>
          </a:p>
        </p:txBody>
      </p:sp>
    </p:spTree>
    <p:extLst>
      <p:ext uri="{BB962C8B-B14F-4D97-AF65-F5344CB8AC3E}">
        <p14:creationId xmlns:p14="http://schemas.microsoft.com/office/powerpoint/2010/main" val="1261314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</p:sldLayoutIdLst>
  <p:txStyles>
    <p:titleStyle>
      <a:lvl1pPr algn="l" defTabSz="457200" rtl="0" eaLnBrk="1" latinLnBrk="0" hangingPunct="1">
        <a:lnSpc>
          <a:spcPts val="4000"/>
        </a:lnSpc>
        <a:spcBef>
          <a:spcPct val="0"/>
        </a:spcBef>
        <a:buNone/>
        <a:defRPr sz="4000" kern="1200" cap="all" baseline="0">
          <a:solidFill>
            <a:schemeClr val="tx1"/>
          </a:solidFill>
          <a:latin typeface="ITC Franklin Gothic Heavy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Tx/>
        <a:buNone/>
        <a:defRPr sz="2400" kern="1200" cap="all">
          <a:solidFill>
            <a:schemeClr val="tx1"/>
          </a:solidFill>
          <a:latin typeface="ITC Franklin Gothic Demi"/>
          <a:ea typeface="+mn-ea"/>
          <a:cs typeface="+mn-cs"/>
        </a:defRPr>
      </a:lvl1pPr>
      <a:lvl2pPr marL="0" indent="0" algn="l" defTabSz="457200" rtl="0" eaLnBrk="1" latinLnBrk="0" hangingPunct="1">
        <a:spcBef>
          <a:spcPct val="20000"/>
        </a:spcBef>
        <a:buFontTx/>
        <a:buNone/>
        <a:defRPr sz="2000" kern="1200">
          <a:solidFill>
            <a:schemeClr val="bg1"/>
          </a:solidFill>
          <a:latin typeface="ITC Franklin Gothic Book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bg1"/>
          </a:solidFill>
          <a:latin typeface="ITC Franklin Gothic Book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bg1"/>
          </a:solidFill>
          <a:latin typeface="ITC Franklin Gothic Book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bg1"/>
          </a:solidFill>
          <a:latin typeface="ITC Franklin Gothic Book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3106" y="2843796"/>
            <a:ext cx="8229600" cy="482731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13106" y="1700796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1"/>
            <a:ext cx="9144000" cy="10343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666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827" y="242785"/>
            <a:ext cx="1531051" cy="548752"/>
          </a:xfrm>
          <a:prstGeom prst="rect">
            <a:avLst/>
          </a:prstGeom>
        </p:spPr>
      </p:pic>
      <p:sp>
        <p:nvSpPr>
          <p:cNvPr id="10" name="Title Placeholder 7"/>
          <p:cNvSpPr txBox="1">
            <a:spLocks/>
          </p:cNvSpPr>
          <p:nvPr userDrawn="1"/>
        </p:nvSpPr>
        <p:spPr>
          <a:xfrm>
            <a:off x="359764" y="0"/>
            <a:ext cx="6355829" cy="10343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lnSpc>
                <a:spcPts val="4000"/>
              </a:lnSpc>
              <a:spcBef>
                <a:spcPct val="0"/>
              </a:spcBef>
              <a:buNone/>
              <a:defRPr sz="4000" kern="1200" cap="all" baseline="0">
                <a:solidFill>
                  <a:schemeClr val="tx1"/>
                </a:solidFill>
                <a:latin typeface="ITC Franklin Gothic Heavy"/>
                <a:ea typeface="+mj-ea"/>
                <a:cs typeface="+mj-cs"/>
              </a:defRPr>
            </a:lvl1pPr>
          </a:lstStyle>
          <a:p>
            <a:r>
              <a:rPr lang="en-US" sz="1800" b="1" i="0" cap="none" baseline="0" dirty="0">
                <a:solidFill>
                  <a:srgbClr val="FFFFFF"/>
                </a:solidFill>
                <a:latin typeface="Arial" panose="020B0604020202020204" pitchFamily="34" charset="0"/>
                <a:ea typeface="Franklin Gothic Heavy" charset="0"/>
                <a:cs typeface="Arial" panose="020B0604020202020204" pitchFamily="34" charset="0"/>
              </a:rPr>
              <a:t>Click to edit Master optional header</a:t>
            </a:r>
          </a:p>
        </p:txBody>
      </p:sp>
    </p:spTree>
    <p:extLst>
      <p:ext uri="{BB962C8B-B14F-4D97-AF65-F5344CB8AC3E}">
        <p14:creationId xmlns:p14="http://schemas.microsoft.com/office/powerpoint/2010/main" val="903380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</p:sldLayoutIdLst>
  <p:txStyles>
    <p:titleStyle>
      <a:lvl1pPr algn="l" defTabSz="457200" rtl="0" eaLnBrk="1" latinLnBrk="0" hangingPunct="1">
        <a:lnSpc>
          <a:spcPts val="4000"/>
        </a:lnSpc>
        <a:spcBef>
          <a:spcPct val="0"/>
        </a:spcBef>
        <a:buNone/>
        <a:defRPr sz="4000" b="1" i="0" kern="1200" cap="none" baseline="0">
          <a:solidFill>
            <a:srgbClr val="232D4B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Tx/>
        <a:buNone/>
        <a:defRPr sz="2400" b="1" i="0" kern="1200" cap="none" baseline="0">
          <a:solidFill>
            <a:srgbClr val="232D4B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1pPr>
      <a:lvl2pPr marL="0" indent="0" algn="l" defTabSz="457200" rtl="0" eaLnBrk="1" latinLnBrk="0" hangingPunct="1">
        <a:spcBef>
          <a:spcPct val="20000"/>
        </a:spcBef>
        <a:buFontTx/>
        <a:buNone/>
        <a:defRPr sz="2000" kern="1200">
          <a:solidFill>
            <a:schemeClr val="bg1"/>
          </a:solidFill>
          <a:latin typeface="ITC Franklin Gothic Book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bg1"/>
          </a:solidFill>
          <a:latin typeface="ITC Franklin Gothic Book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bg1"/>
          </a:solidFill>
          <a:latin typeface="ITC Franklin Gothic Book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bg1"/>
          </a:solidFill>
          <a:latin typeface="ITC Franklin Gothic Book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1034321"/>
            <a:ext cx="9144000" cy="5823680"/>
          </a:xfrm>
          <a:prstGeom prst="rect">
            <a:avLst/>
          </a:prstGeom>
          <a:solidFill>
            <a:srgbClr val="232D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666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3106" y="2843796"/>
            <a:ext cx="8229600" cy="482731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13106" y="1700796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1"/>
            <a:ext cx="9144000" cy="10343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666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827" y="242785"/>
            <a:ext cx="1531051" cy="548752"/>
          </a:xfrm>
          <a:prstGeom prst="rect">
            <a:avLst/>
          </a:prstGeom>
        </p:spPr>
      </p:pic>
      <p:sp>
        <p:nvSpPr>
          <p:cNvPr id="10" name="Title Placeholder 7"/>
          <p:cNvSpPr txBox="1">
            <a:spLocks/>
          </p:cNvSpPr>
          <p:nvPr userDrawn="1"/>
        </p:nvSpPr>
        <p:spPr>
          <a:xfrm>
            <a:off x="359764" y="0"/>
            <a:ext cx="6355829" cy="10343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lnSpc>
                <a:spcPts val="4000"/>
              </a:lnSpc>
              <a:spcBef>
                <a:spcPct val="0"/>
              </a:spcBef>
              <a:buNone/>
              <a:defRPr sz="4000" kern="1200" cap="all" baseline="0">
                <a:solidFill>
                  <a:schemeClr val="tx1"/>
                </a:solidFill>
                <a:latin typeface="ITC Franklin Gothic Heavy"/>
                <a:ea typeface="+mj-ea"/>
                <a:cs typeface="+mj-cs"/>
              </a:defRPr>
            </a:lvl1pPr>
          </a:lstStyle>
          <a:p>
            <a:r>
              <a:rPr lang="en-US" sz="1800" b="1" i="0" cap="none" baseline="0" dirty="0">
                <a:solidFill>
                  <a:srgbClr val="FFFFFF"/>
                </a:solidFill>
                <a:latin typeface="Arial" panose="020B0604020202020204" pitchFamily="34" charset="0"/>
                <a:ea typeface="Franklin Gothic Heavy" charset="0"/>
                <a:cs typeface="Arial" panose="020B0604020202020204" pitchFamily="34" charset="0"/>
              </a:rPr>
              <a:t>Click to edit Master optional header</a:t>
            </a:r>
          </a:p>
        </p:txBody>
      </p:sp>
    </p:spTree>
    <p:extLst>
      <p:ext uri="{BB962C8B-B14F-4D97-AF65-F5344CB8AC3E}">
        <p14:creationId xmlns:p14="http://schemas.microsoft.com/office/powerpoint/2010/main" val="1391956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</p:sldLayoutIdLst>
  <p:txStyles>
    <p:titleStyle>
      <a:lvl1pPr algn="l" defTabSz="457200" rtl="0" eaLnBrk="1" latinLnBrk="0" hangingPunct="1">
        <a:lnSpc>
          <a:spcPts val="4000"/>
        </a:lnSpc>
        <a:spcBef>
          <a:spcPct val="0"/>
        </a:spcBef>
        <a:buNone/>
        <a:defRPr sz="4000" b="1" i="0" kern="1200" cap="none" baseline="0">
          <a:solidFill>
            <a:srgbClr val="FFFFFF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Tx/>
        <a:buNone/>
        <a:defRPr sz="2400" b="1" i="0" kern="1200" cap="none" baseline="0">
          <a:solidFill>
            <a:srgbClr val="FFFFFF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1pPr>
      <a:lvl2pPr marL="0" indent="0" algn="l" defTabSz="457200" rtl="0" eaLnBrk="1" latinLnBrk="0" hangingPunct="1">
        <a:spcBef>
          <a:spcPct val="20000"/>
        </a:spcBef>
        <a:buFontTx/>
        <a:buNone/>
        <a:defRPr sz="2000" kern="1200">
          <a:solidFill>
            <a:schemeClr val="bg1"/>
          </a:solidFill>
          <a:latin typeface="ITC Franklin Gothic Book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bg1"/>
          </a:solidFill>
          <a:latin typeface="ITC Franklin Gothic Book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bg1"/>
          </a:solidFill>
          <a:latin typeface="ITC Franklin Gothic Book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bg1"/>
          </a:solidFill>
          <a:latin typeface="ITC Franklin Gothic Book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" name="think-cell Slide" r:id="rId37" imgW="413" imgH="416" progId="TCLayout.ActiveDocument.1">
                  <p:embed/>
                </p:oleObj>
              </mc:Choice>
              <mc:Fallback>
                <p:oleObj name="think-cell Slide" r:id="rId3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0ECE15BF-F591-4BE1-A12C-D0DD531AB1EC}"/>
              </a:ext>
            </a:extLst>
          </p:cNvPr>
          <p:cNvSpPr/>
          <p:nvPr userDrawn="1"/>
        </p:nvSpPr>
        <p:spPr bwMode="ltGray">
          <a:xfrm>
            <a:off x="0" y="16659"/>
            <a:ext cx="9144000" cy="932687"/>
          </a:xfrm>
          <a:prstGeom prst="rect">
            <a:avLst/>
          </a:prstGeom>
          <a:solidFill>
            <a:srgbClr val="232D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99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pic>
        <p:nvPicPr>
          <p:cNvPr id="149" name="Picture 148">
            <a:extLst>
              <a:ext uri="{FF2B5EF4-FFF2-40B4-BE49-F238E27FC236}">
                <a16:creationId xmlns:a16="http://schemas.microsoft.com/office/drawing/2014/main" id="{BFA85809-AA22-4AAE-857B-A7C1750353F7}"/>
              </a:ext>
            </a:extLst>
          </p:cNvPr>
          <p:cNvPicPr>
            <a:picLocks noChangeAspect="1"/>
          </p:cNvPicPr>
          <p:nvPr userDrawn="1"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7579660" y="263596"/>
            <a:ext cx="1148288" cy="548752"/>
          </a:xfrm>
          <a:prstGeom prst="rect">
            <a:avLst/>
          </a:prstGeom>
        </p:spPr>
      </p:pic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415479" y="6278401"/>
            <a:ext cx="545896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marL="152400" marR="0" lvl="0" indent="-159544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9142857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err="1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398095"/>
              <a:ext cx="11082528" cy="4819825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92" b="0" i="0" u="none" strike="noStrike" kern="1200" cap="none" spc="0" normalizeH="0" baseline="0" noProof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139856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39856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416052" y="1289274"/>
            <a:ext cx="280526" cy="9233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all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416052" y="2170800"/>
            <a:ext cx="2286940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Arial" panose="020B0604020202020204" pitchFamily="34" charset="0"/>
              </a:rPr>
              <a:t>Above Chart Exhibit Title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Arial" panose="020B0604020202020204" pitchFamily="34" charset="0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Arial" panose="020B0604020202020204" pitchFamily="34" charset="0"/>
              </a:rPr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052" y="2170800"/>
            <a:ext cx="1847766" cy="12105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07D2E107-E73A-4C94-9276-22142C9DA284}"/>
              </a:ext>
            </a:extLst>
          </p:cNvPr>
          <p:cNvGrpSpPr/>
          <p:nvPr userDrawn="1"/>
        </p:nvGrpSpPr>
        <p:grpSpPr>
          <a:xfrm>
            <a:off x="7737981" y="3177154"/>
            <a:ext cx="961116" cy="904425"/>
            <a:chOff x="10162879" y="3270702"/>
            <a:chExt cx="1281488" cy="904425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9CE66A31-6D72-45D3-B732-07F06EA65D5B}"/>
                </a:ext>
              </a:extLst>
            </p:cNvPr>
            <p:cNvSpPr txBox="1"/>
            <p:nvPr/>
          </p:nvSpPr>
          <p:spPr>
            <a:xfrm>
              <a:off x="10886522" y="3270702"/>
              <a:ext cx="557845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Legend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F6DC04AC-D1EA-482F-B414-296A7DE0FA09}"/>
                </a:ext>
              </a:extLst>
            </p:cNvPr>
            <p:cNvSpPr txBox="1"/>
            <p:nvPr/>
          </p:nvSpPr>
          <p:spPr>
            <a:xfrm>
              <a:off x="10886522" y="3642123"/>
              <a:ext cx="557845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4B5BD1E8-13AD-466E-81CB-D56784DFF95A}"/>
                </a:ext>
              </a:extLst>
            </p:cNvPr>
            <p:cNvSpPr txBox="1"/>
            <p:nvPr/>
          </p:nvSpPr>
          <p:spPr>
            <a:xfrm>
              <a:off x="10886522" y="4013544"/>
              <a:ext cx="557845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17D4408B-1BA1-4C2F-A95C-933DD62A425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F6E2CD31-E535-434C-BCCE-170D6DBC93E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AD4BAFAC-E385-412B-87E0-4A74A29C290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39E398B1-7ADC-4AA5-A514-B27A32CBCEC1}"/>
              </a:ext>
            </a:extLst>
          </p:cNvPr>
          <p:cNvGrpSpPr/>
          <p:nvPr userDrawn="1"/>
        </p:nvGrpSpPr>
        <p:grpSpPr>
          <a:xfrm>
            <a:off x="8016238" y="1145373"/>
            <a:ext cx="682858" cy="1731859"/>
            <a:chOff x="7723680" y="1702457"/>
            <a:chExt cx="910477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9013CF69-0958-4C3A-BFD5-44EAAE1CFC6C}"/>
                </a:ext>
              </a:extLst>
            </p:cNvPr>
            <p:cNvSpPr txBox="1"/>
            <p:nvPr/>
          </p:nvSpPr>
          <p:spPr>
            <a:xfrm>
              <a:off x="8076312" y="1736746"/>
              <a:ext cx="557845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Legend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00139C7A-E52F-4FDB-A4EA-015598DEC8E1}"/>
                </a:ext>
              </a:extLst>
            </p:cNvPr>
            <p:cNvSpPr txBox="1"/>
            <p:nvPr/>
          </p:nvSpPr>
          <p:spPr>
            <a:xfrm>
              <a:off x="8076312" y="2112205"/>
              <a:ext cx="557845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Legend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1FE44269-8935-4246-B0F1-CBD23B1233B2}"/>
                </a:ext>
              </a:extLst>
            </p:cNvPr>
            <p:cNvSpPr txBox="1"/>
            <p:nvPr/>
          </p:nvSpPr>
          <p:spPr>
            <a:xfrm>
              <a:off x="8076312" y="2487664"/>
              <a:ext cx="557845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Legend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CA239235-0C55-4323-BBA3-EE55C22B0784}"/>
                </a:ext>
              </a:extLst>
            </p:cNvPr>
            <p:cNvSpPr txBox="1"/>
            <p:nvPr/>
          </p:nvSpPr>
          <p:spPr>
            <a:xfrm>
              <a:off x="8076312" y="2863123"/>
              <a:ext cx="557845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Legend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EC463E3F-3793-491B-98E4-A3B1075EF1C4}"/>
                </a:ext>
              </a:extLst>
            </p:cNvPr>
            <p:cNvSpPr txBox="1"/>
            <p:nvPr/>
          </p:nvSpPr>
          <p:spPr>
            <a:xfrm>
              <a:off x="8076312" y="3238584"/>
              <a:ext cx="557845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Legend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56912277-4367-4369-A2DC-2E5EF7BF9067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F77ABC3A-E13C-45D3-A6A9-188B601D901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EE959816-BC9F-47C2-9AC2-8B0630D6D822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534648CA-DBA8-48D6-BCA3-75CB9988F4A0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ACC06618-1ADA-42A9-A419-58B8C15F36DB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0B628515-D6E8-4153-940D-2127501B9E3F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941DF02F-5A41-402B-BCB3-01EE30ED3334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649FD38D-1DEE-46E8-8D56-675BFF6DA4A4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66F4C765-0E9C-4049-B413-B98B0B5A693E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DDA5F48D-B49D-4C67-BCC2-985F6308EA53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379EAA7B-6458-45E8-99E8-FEA51F408552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E1D88A6E-B6B8-4E92-B45C-3C28C637600A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0BA8B982-5712-4E66-94BA-2AA5DA965C29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22578758-9A32-4D12-9087-DB983792347F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BDA881C5-D4C7-42E0-9CC7-A685007817BA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4E352F8C-0EEB-4ED3-A3D9-1E0512936E6F}"/>
              </a:ext>
            </a:extLst>
          </p:cNvPr>
          <p:cNvGrpSpPr/>
          <p:nvPr userDrawn="1"/>
        </p:nvGrpSpPr>
        <p:grpSpPr>
          <a:xfrm>
            <a:off x="8036103" y="4402859"/>
            <a:ext cx="662994" cy="1673015"/>
            <a:chOff x="10652400" y="4344182"/>
            <a:chExt cx="883991" cy="1673015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474A48A8-5C4B-4762-9019-4067BE713DFA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err="1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B36FB66E-6A60-4626-83CC-D4FCB86CBF85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err="1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C1E4C7C0-F39E-4211-B229-6A5521E14B47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err="1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7F37B087-0A92-48AF-9DB1-EC02078EA17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err="1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9CBC2827-4F00-4781-A1D6-0C5049C828B1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err="1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CB875E24-53DA-486F-A58C-BA2130B55DB9}"/>
                </a:ext>
              </a:extLst>
            </p:cNvPr>
            <p:cNvSpPr txBox="1"/>
            <p:nvPr/>
          </p:nvSpPr>
          <p:spPr>
            <a:xfrm>
              <a:off x="10978546" y="4349754"/>
              <a:ext cx="557845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Legend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DCC6DBB1-A0D7-44D6-9D97-362F6317334A}"/>
                </a:ext>
              </a:extLst>
            </p:cNvPr>
            <p:cNvSpPr txBox="1"/>
            <p:nvPr/>
          </p:nvSpPr>
          <p:spPr>
            <a:xfrm>
              <a:off x="10978546" y="4729252"/>
              <a:ext cx="557845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Legend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680FFA65-4FFF-4B91-BA71-74974F017CBF}"/>
                </a:ext>
              </a:extLst>
            </p:cNvPr>
            <p:cNvSpPr txBox="1"/>
            <p:nvPr/>
          </p:nvSpPr>
          <p:spPr>
            <a:xfrm>
              <a:off x="10978546" y="5108750"/>
              <a:ext cx="557845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Legend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BCB4244F-2985-4763-B039-5672B80530C8}"/>
                </a:ext>
              </a:extLst>
            </p:cNvPr>
            <p:cNvSpPr txBox="1"/>
            <p:nvPr/>
          </p:nvSpPr>
          <p:spPr>
            <a:xfrm>
              <a:off x="10978546" y="5480171"/>
              <a:ext cx="557845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Legend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99CA954A-5229-4D68-A171-D6D0D0C75015}"/>
                </a:ext>
              </a:extLst>
            </p:cNvPr>
            <p:cNvSpPr txBox="1"/>
            <p:nvPr/>
          </p:nvSpPr>
          <p:spPr>
            <a:xfrm>
              <a:off x="10978545" y="5851592"/>
              <a:ext cx="557845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262F3E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Legend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262F3E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</p:grp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416052" y="172212"/>
            <a:ext cx="7021853" cy="73152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2A481FB-BB45-E644-BAE8-6877213196C3}"/>
              </a:ext>
            </a:extLst>
          </p:cNvPr>
          <p:cNvPicPr>
            <a:picLocks noChangeAspect="1"/>
          </p:cNvPicPr>
          <p:nvPr userDrawn="1"/>
        </p:nvPicPr>
        <p:blipFill>
          <a:blip r:embed="rId40"/>
          <a:srcRect/>
          <a:stretch/>
        </p:blipFill>
        <p:spPr>
          <a:xfrm>
            <a:off x="7658666" y="4831507"/>
            <a:ext cx="1219590" cy="1754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73067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  <p:sldLayoutId id="2147483739" r:id="rId13"/>
    <p:sldLayoutId id="2147483740" r:id="rId14"/>
  </p:sldLayoutIdLst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lang="en-US" sz="1875" b="1" kern="1200" spc="0" baseline="0" dirty="0">
          <a:ln w="6350" cap="flat">
            <a:noFill/>
            <a:miter lim="800000"/>
          </a:ln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2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71450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29184" indent="-157734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45770" indent="-116586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10362" indent="-10972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orient="horz" pos="864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3912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1"/>
            <a:ext cx="9144000" cy="1034320"/>
          </a:xfrm>
          <a:prstGeom prst="rect">
            <a:avLst/>
          </a:prstGeom>
          <a:solidFill>
            <a:srgbClr val="232D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99" b="0" i="0" u="none" strike="noStrike" kern="1200" cap="none" spc="0" normalizeH="0" baseline="0" noProof="0">
              <a:ln>
                <a:noFill/>
              </a:ln>
              <a:solidFill>
                <a:srgbClr val="262F3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828" y="242785"/>
            <a:ext cx="1531051" cy="548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10956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</p:sldLayoutIdLst>
  <p:txStyles>
    <p:titleStyle>
      <a:lvl1pPr algn="ctr" defTabSz="342900" rtl="0" eaLnBrk="1" latinLnBrk="0" hangingPunct="1">
        <a:lnSpc>
          <a:spcPts val="3000"/>
        </a:lnSpc>
        <a:spcBef>
          <a:spcPct val="0"/>
        </a:spcBef>
        <a:buNone/>
        <a:defRPr sz="3000" kern="1200" cap="all" baseline="0">
          <a:solidFill>
            <a:schemeClr val="tx1"/>
          </a:solidFill>
          <a:latin typeface="ITC Franklin Gothic Heavy"/>
          <a:ea typeface="+mj-ea"/>
          <a:cs typeface="+mj-cs"/>
        </a:defRPr>
      </a:lvl1pPr>
    </p:titleStyle>
    <p:bodyStyle>
      <a:lvl1pPr marL="0" indent="0" algn="l" defTabSz="342900" rtl="0" eaLnBrk="1" latinLnBrk="0" hangingPunct="1">
        <a:spcBef>
          <a:spcPct val="20000"/>
        </a:spcBef>
        <a:buFontTx/>
        <a:buNone/>
        <a:defRPr sz="1800" kern="1200" cap="all">
          <a:solidFill>
            <a:schemeClr val="tx1"/>
          </a:solidFill>
          <a:latin typeface="ITC Franklin Gothic Demi"/>
          <a:ea typeface="+mn-ea"/>
          <a:cs typeface="+mn-cs"/>
        </a:defRPr>
      </a:lvl1pPr>
      <a:lvl2pPr marL="0" indent="0" algn="l" defTabSz="342900" rtl="0" eaLnBrk="1" latinLnBrk="0" hangingPunct="1">
        <a:spcBef>
          <a:spcPct val="20000"/>
        </a:spcBef>
        <a:buFontTx/>
        <a:buNone/>
        <a:defRPr sz="1500" kern="1200">
          <a:solidFill>
            <a:schemeClr val="bg1"/>
          </a:solidFill>
          <a:latin typeface="ITC Franklin Gothic Book"/>
          <a:ea typeface="+mn-ea"/>
          <a:cs typeface="+mn-cs"/>
        </a:defRPr>
      </a:lvl2pPr>
      <a:lvl3pPr marL="8572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bg1"/>
          </a:solidFill>
          <a:latin typeface="ITC Franklin Gothic Book"/>
          <a:ea typeface="+mn-ea"/>
          <a:cs typeface="+mn-cs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500" kern="1200">
          <a:solidFill>
            <a:schemeClr val="bg1"/>
          </a:solidFill>
          <a:latin typeface="ITC Franklin Gothic Book"/>
          <a:ea typeface="+mn-ea"/>
          <a:cs typeface="+mn-cs"/>
        </a:defRPr>
      </a:lvl4pPr>
      <a:lvl5pPr marL="1543050" indent="-171450" algn="l" defTabSz="342900" rtl="0" eaLnBrk="1" latinLnBrk="0" hangingPunct="1">
        <a:spcBef>
          <a:spcPct val="20000"/>
        </a:spcBef>
        <a:buFont typeface="Arial"/>
        <a:buChar char="»"/>
        <a:defRPr sz="1500" kern="1200">
          <a:solidFill>
            <a:schemeClr val="bg1"/>
          </a:solidFill>
          <a:latin typeface="ITC Franklin Gothic Book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1"/>
            <a:ext cx="9144000" cy="1034320"/>
          </a:xfrm>
          <a:prstGeom prst="rect">
            <a:avLst/>
          </a:prstGeom>
          <a:solidFill>
            <a:srgbClr val="232D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666" b="0" i="0" u="none" strike="noStrike" kern="1200" cap="none" spc="0" normalizeH="0" baseline="0" noProof="0">
              <a:ln>
                <a:noFill/>
              </a:ln>
              <a:solidFill>
                <a:srgbClr val="262F3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827" y="242785"/>
            <a:ext cx="1531051" cy="548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13991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</p:sldLayoutIdLst>
  <p:txStyles>
    <p:titleStyle>
      <a:lvl1pPr algn="ctr" defTabSz="457200" rtl="0" eaLnBrk="1" latinLnBrk="0" hangingPunct="1">
        <a:lnSpc>
          <a:spcPts val="4000"/>
        </a:lnSpc>
        <a:spcBef>
          <a:spcPct val="0"/>
        </a:spcBef>
        <a:buNone/>
        <a:defRPr sz="4000" kern="1200" cap="all" baseline="0">
          <a:solidFill>
            <a:schemeClr val="tx1"/>
          </a:solidFill>
          <a:latin typeface="ITC Franklin Gothic Heavy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Tx/>
        <a:buNone/>
        <a:defRPr sz="2400" kern="1200" cap="all">
          <a:solidFill>
            <a:schemeClr val="tx1"/>
          </a:solidFill>
          <a:latin typeface="ITC Franklin Gothic Demi"/>
          <a:ea typeface="+mn-ea"/>
          <a:cs typeface="+mn-cs"/>
        </a:defRPr>
      </a:lvl1pPr>
      <a:lvl2pPr marL="0" indent="0" algn="l" defTabSz="457200" rtl="0" eaLnBrk="1" latinLnBrk="0" hangingPunct="1">
        <a:spcBef>
          <a:spcPct val="20000"/>
        </a:spcBef>
        <a:buFontTx/>
        <a:buNone/>
        <a:defRPr sz="2000" kern="1200">
          <a:solidFill>
            <a:schemeClr val="bg1"/>
          </a:solidFill>
          <a:latin typeface="ITC Franklin Gothic Book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bg1"/>
          </a:solidFill>
          <a:latin typeface="ITC Franklin Gothic Book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bg1"/>
          </a:solidFill>
          <a:latin typeface="ITC Franklin Gothic Book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bg1"/>
          </a:solidFill>
          <a:latin typeface="ITC Franklin Gothic Book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Rkm9zecJwHY" TargetMode="External"/><Relationship Id="rId2" Type="http://schemas.openxmlformats.org/officeDocument/2006/relationships/hyperlink" Target="https://www.youtube.com/watch?v=JZGgAKxxZ9s" TargetMode="External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www.youtube.com/watch?v=K8thdDVxx14" TargetMode="Externa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0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192503" y="1437028"/>
            <a:ext cx="8796221" cy="4920791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2600" dirty="0" smtClean="0"/>
          </a:p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3900" dirty="0">
                <a:solidFill>
                  <a:schemeClr val="tx1"/>
                </a:solidFill>
              </a:rPr>
              <a:t>ENFit</a:t>
            </a:r>
            <a:r>
              <a:rPr lang="en-US" sz="2400" baseline="70000" dirty="0">
                <a:solidFill>
                  <a:schemeClr val="tx1"/>
                </a:solidFill>
              </a:rPr>
              <a:t>TM</a:t>
            </a:r>
            <a:r>
              <a:rPr lang="en-US" sz="3600" baseline="30000" dirty="0">
                <a:solidFill>
                  <a:schemeClr val="tx1"/>
                </a:solidFill>
              </a:rPr>
              <a:t> </a:t>
            </a:r>
            <a:r>
              <a:rPr lang="en-US" sz="3900" dirty="0">
                <a:solidFill>
                  <a:schemeClr val="tx1"/>
                </a:solidFill>
              </a:rPr>
              <a:t>C</a:t>
            </a:r>
            <a:r>
              <a:rPr lang="en-US" sz="3900" dirty="0" smtClean="0">
                <a:solidFill>
                  <a:schemeClr val="tx1"/>
                </a:solidFill>
              </a:rPr>
              <a:t>ompatible </a:t>
            </a:r>
          </a:p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3900" dirty="0" smtClean="0">
                <a:solidFill>
                  <a:schemeClr val="tx1"/>
                </a:solidFill>
              </a:rPr>
              <a:t>Enteral Feeding Tube Products</a:t>
            </a:r>
          </a:p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3000" b="1" dirty="0" smtClean="0"/>
              <a:t>Update</a:t>
            </a:r>
          </a:p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3000" b="1" dirty="0" smtClean="0"/>
              <a:t>UVACH Center of Nursing Excellence </a:t>
            </a:r>
          </a:p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2000" b="1" dirty="0" smtClean="0"/>
          </a:p>
          <a:p>
            <a:pPr marL="342900" indent="-342900" algn="ctr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2000" b="1" dirty="0"/>
          </a:p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b="1" dirty="0" smtClean="0"/>
              <a:t>Adapted from work compiled by UVA Main Ty Ashworth</a:t>
            </a:r>
            <a:r>
              <a:rPr lang="en-US" dirty="0" smtClean="0"/>
              <a:t>, RN, BSN, CMSRN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2800" b="1" baseline="-42000" dirty="0" smtClean="0"/>
          </a:p>
        </p:txBody>
      </p:sp>
    </p:spTree>
    <p:extLst>
      <p:ext uri="{BB962C8B-B14F-4D97-AF65-F5344CB8AC3E}">
        <p14:creationId xmlns:p14="http://schemas.microsoft.com/office/powerpoint/2010/main" val="36121314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1153" y="229997"/>
            <a:ext cx="6785599" cy="547925"/>
          </a:xfrm>
        </p:spPr>
        <p:txBody>
          <a:bodyPr/>
          <a:lstStyle/>
          <a:p>
            <a:r>
              <a:rPr lang="en-US" dirty="0" smtClean="0"/>
              <a:t>ENFit</a:t>
            </a:r>
            <a:r>
              <a:rPr lang="en-US" sz="2400" baseline="70000" dirty="0" smtClean="0"/>
              <a:t>TM</a:t>
            </a:r>
            <a:r>
              <a:rPr lang="en-US" sz="3600" baseline="30000" dirty="0" smtClean="0"/>
              <a:t> </a:t>
            </a:r>
            <a:r>
              <a:rPr lang="en-US" sz="3600" dirty="0" smtClean="0"/>
              <a:t>Updates</a:t>
            </a:r>
            <a:endParaRPr lang="en-US" sz="360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261152" y="1241946"/>
            <a:ext cx="8796221" cy="4920791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2600" dirty="0" smtClean="0"/>
              <a:t>Educational Videos from UVA Main!</a:t>
            </a:r>
          </a:p>
          <a:p>
            <a:pPr marL="457200" indent="-4572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200" dirty="0" smtClean="0">
                <a:hlinkClick r:id="rId2"/>
              </a:rPr>
              <a:t>Enteral </a:t>
            </a:r>
            <a:r>
              <a:rPr lang="en-US" sz="2200" dirty="0">
                <a:hlinkClick r:id="rId2"/>
              </a:rPr>
              <a:t>Tube </a:t>
            </a:r>
            <a:r>
              <a:rPr lang="en-US" sz="2200" dirty="0" smtClean="0">
                <a:hlinkClick r:id="rId2"/>
              </a:rPr>
              <a:t>Insertion</a:t>
            </a:r>
            <a:r>
              <a:rPr lang="en-US" sz="2200" dirty="0" smtClean="0"/>
              <a:t> (~ 3 minutes)</a:t>
            </a:r>
          </a:p>
          <a:p>
            <a:pPr marL="1600200" lvl="2" indent="-4572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 smtClean="0"/>
              <a:t>Kristi (Kimpel) Wilkins</a:t>
            </a:r>
          </a:p>
          <a:p>
            <a:pPr marL="457200" indent="-4572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200" dirty="0">
                <a:hlinkClick r:id="rId3"/>
              </a:rPr>
              <a:t>Adult Enteral Devices &amp; </a:t>
            </a:r>
            <a:r>
              <a:rPr lang="en-US" sz="2200" dirty="0" smtClean="0">
                <a:hlinkClick r:id="rId3"/>
              </a:rPr>
              <a:t>Supplies</a:t>
            </a:r>
            <a:r>
              <a:rPr lang="en-US" sz="2200" dirty="0" smtClean="0"/>
              <a:t> (~ 6 minutes)</a:t>
            </a:r>
            <a:endParaRPr lang="en-US" sz="2200" dirty="0"/>
          </a:p>
          <a:p>
            <a:pPr marL="1600200" lvl="2" indent="-4572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 smtClean="0"/>
              <a:t>Kristi (Kimpel) Wilkins</a:t>
            </a:r>
          </a:p>
          <a:p>
            <a:pPr marL="457200" indent="-4572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200" dirty="0" smtClean="0">
                <a:hlinkClick r:id="rId4"/>
              </a:rPr>
              <a:t>Children’s </a:t>
            </a:r>
            <a:r>
              <a:rPr lang="en-US" sz="2200" dirty="0">
                <a:hlinkClick r:id="rId4"/>
              </a:rPr>
              <a:t>Hospital Enteral Devices &amp; Supplies </a:t>
            </a:r>
            <a:r>
              <a:rPr lang="en-US" sz="2200" dirty="0" smtClean="0"/>
              <a:t>(~ 3 minutes)</a:t>
            </a:r>
          </a:p>
          <a:p>
            <a:pPr marL="1600200" lvl="2" indent="-4572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 smtClean="0"/>
              <a:t>Susan </a:t>
            </a:r>
            <a:r>
              <a:rPr lang="en-US" sz="2000" dirty="0" err="1" smtClean="0"/>
              <a:t>Wetherall</a:t>
            </a:r>
            <a:endParaRPr lang="en-US" sz="2000" dirty="0" smtClean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2800" dirty="0" smtClean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/>
              <a:t>Loop in unit leaders and shift manager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2800" dirty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2800" dirty="0" smtClean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2800" dirty="0" smtClean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2800" dirty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2800" dirty="0" smtClean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2800" b="1" baseline="-42000" dirty="0" smtClean="0"/>
          </a:p>
        </p:txBody>
      </p:sp>
    </p:spTree>
    <p:extLst>
      <p:ext uri="{BB962C8B-B14F-4D97-AF65-F5344CB8AC3E}">
        <p14:creationId xmlns:p14="http://schemas.microsoft.com/office/powerpoint/2010/main" val="1286596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1153" y="229997"/>
            <a:ext cx="6785599" cy="547925"/>
          </a:xfrm>
        </p:spPr>
        <p:txBody>
          <a:bodyPr/>
          <a:lstStyle/>
          <a:p>
            <a:r>
              <a:rPr lang="en-US" dirty="0" smtClean="0"/>
              <a:t>ENFit</a:t>
            </a:r>
            <a:r>
              <a:rPr lang="en-US" sz="2400" baseline="70000" dirty="0" smtClean="0"/>
              <a:t>TM</a:t>
            </a:r>
            <a:r>
              <a:rPr lang="en-US" sz="3600" baseline="30000" dirty="0" smtClean="0"/>
              <a:t> </a:t>
            </a:r>
            <a:r>
              <a:rPr lang="en-US" sz="3600" dirty="0" smtClean="0"/>
              <a:t>Updates</a:t>
            </a:r>
            <a:endParaRPr lang="en-US" sz="360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261152" y="1241946"/>
            <a:ext cx="8796221" cy="4920791"/>
          </a:xfrm>
        </p:spPr>
        <p:txBody>
          <a:bodyPr/>
          <a:lstStyle/>
          <a:p>
            <a:pPr marL="457200" indent="-4572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600" dirty="0" smtClean="0"/>
              <a:t>NPGO Resources page</a:t>
            </a:r>
          </a:p>
          <a:p>
            <a:pPr marL="1600200" lvl="2" indent="-4572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 smtClean="0"/>
              <a:t>QR Codes (Use local VMBs)</a:t>
            </a:r>
          </a:p>
          <a:p>
            <a:pPr marL="1600200" lvl="2" indent="-4572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 smtClean="0"/>
              <a:t>Videos (w/ QR codes)</a:t>
            </a:r>
            <a:endParaRPr lang="en-US" sz="2600" dirty="0" smtClean="0"/>
          </a:p>
          <a:p>
            <a:pPr marL="457200" lvl="1" indent="-4572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600" dirty="0" smtClean="0"/>
              <a:t>More to come, including…</a:t>
            </a:r>
          </a:p>
          <a:p>
            <a:pPr marL="1600200" lvl="2" indent="-4572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 smtClean="0"/>
              <a:t>FAQ </a:t>
            </a:r>
          </a:p>
          <a:p>
            <a:pPr marL="1600200" lvl="2" indent="-4572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 smtClean="0"/>
              <a:t>Product Reference Visual Guide (in supply room)</a:t>
            </a:r>
          </a:p>
          <a:p>
            <a:pPr marL="457200" lvl="1" indent="-4572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 smtClean="0"/>
              <a:t>Positive Takeaway…?</a:t>
            </a:r>
          </a:p>
          <a:p>
            <a:pPr marL="1600200" lvl="2" indent="-4572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 smtClean="0"/>
              <a:t>Once a team member performs this once, they typically grasp the key concepts/takeaways.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2800" dirty="0" smtClean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2800" dirty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2800" dirty="0" smtClean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2800" b="1" baseline="-42000" dirty="0" smtClean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52321" y="1421964"/>
            <a:ext cx="2297548" cy="1337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7110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1153" y="229997"/>
            <a:ext cx="6785599" cy="547925"/>
          </a:xfrm>
        </p:spPr>
        <p:txBody>
          <a:bodyPr/>
          <a:lstStyle/>
          <a:p>
            <a:r>
              <a:rPr lang="en-US" dirty="0" smtClean="0"/>
              <a:t>ENFit</a:t>
            </a:r>
            <a:r>
              <a:rPr lang="en-US" sz="2400" baseline="70000" dirty="0" smtClean="0"/>
              <a:t>TM</a:t>
            </a:r>
            <a:r>
              <a:rPr lang="en-US" sz="3600" baseline="30000" dirty="0" smtClean="0"/>
              <a:t> </a:t>
            </a:r>
            <a:r>
              <a:rPr lang="en-US" sz="3600" dirty="0" smtClean="0"/>
              <a:t>Updates</a:t>
            </a:r>
            <a:endParaRPr lang="en-US" sz="360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261152" y="1241946"/>
            <a:ext cx="8796221" cy="5253745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/>
              <a:t>Background: In 2022 UVA Health prepared to transition feeding tube products to </a:t>
            </a:r>
            <a:r>
              <a:rPr lang="en-US" sz="2800" dirty="0" err="1" smtClean="0"/>
              <a:t>ENFit</a:t>
            </a:r>
            <a:r>
              <a:rPr lang="en-US" sz="2800" dirty="0" smtClean="0"/>
              <a:t> compatible products/devices. </a:t>
            </a:r>
          </a:p>
          <a:p>
            <a:pPr marL="457200" lvl="1" indent="-4572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dirty="0"/>
              <a:t>Misconnections with enteral feeding products resulted in GEDSA (Global Enteral Device Supplier Association) creating a </a:t>
            </a:r>
            <a:r>
              <a:rPr lang="en-US" sz="2400" dirty="0" smtClean="0"/>
              <a:t>unique, standardized enteral feeding connection. This transition is not specific to UVA, but impacts the globe.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2800" smtClean="0"/>
              <a:t>Global supply </a:t>
            </a:r>
            <a:r>
              <a:rPr lang="en-US" sz="2800" dirty="0" smtClean="0"/>
              <a:t>chain complications, insufficient supply, and increased demand have resulted in a prolonged, piecemeal transition. </a:t>
            </a:r>
            <a:endParaRPr lang="en-US" sz="2800" dirty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2800" dirty="0" smtClean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2800" b="1" baseline="-42000" dirty="0" smtClean="0"/>
          </a:p>
        </p:txBody>
      </p:sp>
    </p:spTree>
    <p:extLst>
      <p:ext uri="{BB962C8B-B14F-4D97-AF65-F5344CB8AC3E}">
        <p14:creationId xmlns:p14="http://schemas.microsoft.com/office/powerpoint/2010/main" val="2707113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1153" y="229997"/>
            <a:ext cx="6785599" cy="547925"/>
          </a:xfrm>
        </p:spPr>
        <p:txBody>
          <a:bodyPr/>
          <a:lstStyle/>
          <a:p>
            <a:r>
              <a:rPr lang="en-US" dirty="0" smtClean="0"/>
              <a:t>ENFit</a:t>
            </a:r>
            <a:r>
              <a:rPr lang="en-US" sz="2400" baseline="70000" dirty="0" smtClean="0"/>
              <a:t>TM</a:t>
            </a:r>
            <a:r>
              <a:rPr lang="en-US" sz="3600" baseline="30000" dirty="0" smtClean="0"/>
              <a:t> </a:t>
            </a:r>
            <a:r>
              <a:rPr lang="en-US" sz="3600" dirty="0" smtClean="0"/>
              <a:t>Updates</a:t>
            </a:r>
            <a:endParaRPr lang="en-US" sz="360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261152" y="1241946"/>
            <a:ext cx="8796221" cy="4920791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2800" b="1" i="1" dirty="0" smtClean="0"/>
              <a:t>Who: </a:t>
            </a:r>
            <a:r>
              <a:rPr lang="en-US" sz="2800" dirty="0" smtClean="0"/>
              <a:t>All patients with an enteral feeding tube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2800" b="1" i="1" dirty="0" smtClean="0"/>
              <a:t>What: </a:t>
            </a:r>
            <a:r>
              <a:rPr lang="en-US" sz="2800" dirty="0" err="1" smtClean="0"/>
              <a:t>ENFit</a:t>
            </a:r>
            <a:r>
              <a:rPr lang="en-US" sz="2800" dirty="0" smtClean="0"/>
              <a:t> compatible = ‘Twist-in/Locking’ function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2800" b="1" i="1" dirty="0" smtClean="0"/>
              <a:t>Where: </a:t>
            </a:r>
            <a:r>
              <a:rPr lang="en-US" sz="2800" dirty="0" smtClean="0"/>
              <a:t>Ultimately will impact all enteral tube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2800" b="1" i="1" dirty="0" smtClean="0"/>
              <a:t>Why: </a:t>
            </a:r>
            <a:r>
              <a:rPr lang="en-US" sz="2800" dirty="0" smtClean="0"/>
              <a:t>Improves safety:</a:t>
            </a:r>
          </a:p>
          <a:p>
            <a:pPr marL="457200" indent="-4572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dirty="0" smtClean="0"/>
              <a:t>Decreases risk of </a:t>
            </a:r>
            <a:r>
              <a:rPr lang="en-US" sz="2400" b="1" i="1" dirty="0" smtClean="0"/>
              <a:t>mis</a:t>
            </a:r>
            <a:r>
              <a:rPr lang="en-US" sz="2400" dirty="0" smtClean="0"/>
              <a:t>connections to other lines/devices (i.e. </a:t>
            </a:r>
            <a:r>
              <a:rPr lang="en-US" sz="2400" dirty="0" err="1" smtClean="0"/>
              <a:t>ENFit</a:t>
            </a:r>
            <a:r>
              <a:rPr lang="en-US" sz="2400" dirty="0" smtClean="0"/>
              <a:t> only connects to </a:t>
            </a:r>
            <a:r>
              <a:rPr lang="en-US" sz="2400" dirty="0" err="1" smtClean="0"/>
              <a:t>ENFit</a:t>
            </a:r>
            <a:r>
              <a:rPr lang="en-US" sz="2400" dirty="0" smtClean="0"/>
              <a:t>)</a:t>
            </a:r>
          </a:p>
          <a:p>
            <a:pPr marL="457200" indent="-4572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dirty="0" smtClean="0"/>
              <a:t>Decreases likelihood of </a:t>
            </a:r>
            <a:r>
              <a:rPr lang="en-US" sz="2400" b="1" i="1" dirty="0" smtClean="0"/>
              <a:t>dis</a:t>
            </a:r>
            <a:r>
              <a:rPr lang="en-US" sz="2400" dirty="0" smtClean="0"/>
              <a:t>connections </a:t>
            </a:r>
            <a:endParaRPr lang="en-US" sz="2400" dirty="0"/>
          </a:p>
          <a:p>
            <a:pPr marL="457200" indent="-4572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dirty="0" smtClean="0"/>
              <a:t>Standardization </a:t>
            </a:r>
            <a:r>
              <a:rPr lang="en-US" sz="2400" dirty="0" smtClean="0">
                <a:sym typeface="Wingdings" panose="05000000000000000000" pitchFamily="2" charset="2"/>
              </a:rPr>
              <a:t> Universal connector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2800" b="1" dirty="0" smtClean="0">
                <a:sym typeface="Wingdings" panose="05000000000000000000" pitchFamily="2" charset="2"/>
              </a:rPr>
              <a:t>When: </a:t>
            </a:r>
            <a:r>
              <a:rPr lang="en-US" sz="2800" dirty="0" smtClean="0">
                <a:sym typeface="Wingdings" panose="05000000000000000000" pitchFamily="2" charset="2"/>
              </a:rPr>
              <a:t>Ongoing</a:t>
            </a:r>
            <a:endParaRPr lang="en-US" sz="2800" dirty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2800" dirty="0" smtClean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2800" b="1" baseline="-42000" dirty="0" smtClean="0"/>
          </a:p>
        </p:txBody>
      </p:sp>
    </p:spTree>
    <p:extLst>
      <p:ext uri="{BB962C8B-B14F-4D97-AF65-F5344CB8AC3E}">
        <p14:creationId xmlns:p14="http://schemas.microsoft.com/office/powerpoint/2010/main" val="14586531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1153" y="229997"/>
            <a:ext cx="6785599" cy="547925"/>
          </a:xfrm>
        </p:spPr>
        <p:txBody>
          <a:bodyPr/>
          <a:lstStyle/>
          <a:p>
            <a:r>
              <a:rPr lang="en-US" dirty="0" smtClean="0"/>
              <a:t>ENFit</a:t>
            </a:r>
            <a:r>
              <a:rPr lang="en-US" sz="2400" baseline="70000" dirty="0" smtClean="0"/>
              <a:t>TM</a:t>
            </a:r>
            <a:r>
              <a:rPr lang="en-US" sz="3600" baseline="30000" dirty="0" smtClean="0"/>
              <a:t> </a:t>
            </a:r>
            <a:r>
              <a:rPr lang="en-US" sz="3600" dirty="0" smtClean="0"/>
              <a:t>Updates</a:t>
            </a:r>
            <a:endParaRPr lang="en-US" sz="360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261152" y="1241946"/>
            <a:ext cx="8796221" cy="4920791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2800" b="1" i="1" dirty="0" smtClean="0"/>
              <a:t>What do we currently have…?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/>
              <a:t>Some products are already </a:t>
            </a:r>
            <a:r>
              <a:rPr lang="en-US" sz="2800" dirty="0" err="1" smtClean="0"/>
              <a:t>ENFit</a:t>
            </a:r>
            <a:r>
              <a:rPr lang="en-US" sz="2800" dirty="0" smtClean="0"/>
              <a:t> compatible</a:t>
            </a:r>
          </a:p>
          <a:p>
            <a:pPr marL="457200" indent="-4572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 smtClean="0"/>
              <a:t>Kangaroo feeding tubing sets</a:t>
            </a:r>
          </a:p>
          <a:p>
            <a:pPr marL="1600200" lvl="2" indent="-4572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 smtClean="0"/>
              <a:t>Tube Feeding Bag (Bin# 90850)</a:t>
            </a:r>
          </a:p>
          <a:p>
            <a:pPr marL="1600200" lvl="2" indent="-4572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 smtClean="0"/>
              <a:t>Feed Spike w/ Flush (Bin# 90848)</a:t>
            </a:r>
          </a:p>
          <a:p>
            <a:pPr marL="1600200" lvl="2" indent="-4572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 smtClean="0"/>
              <a:t>Feed Tube Spike (Bin# 90847)</a:t>
            </a:r>
          </a:p>
          <a:p>
            <a:pPr marL="1600200" lvl="2" indent="-4572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 smtClean="0"/>
              <a:t>Tube Feeding Bag w/ Flush (Bin# 90846)</a:t>
            </a:r>
            <a:endParaRPr lang="en-US" sz="2800" dirty="0"/>
          </a:p>
          <a:p>
            <a:pPr marL="457200" indent="-4572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2800" dirty="0" smtClean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2800" b="1" baseline="-42000" dirty="0" smtClean="0"/>
          </a:p>
        </p:txBody>
      </p:sp>
    </p:spTree>
    <p:extLst>
      <p:ext uri="{BB962C8B-B14F-4D97-AF65-F5344CB8AC3E}">
        <p14:creationId xmlns:p14="http://schemas.microsoft.com/office/powerpoint/2010/main" val="42043542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1153" y="229997"/>
            <a:ext cx="6785599" cy="547925"/>
          </a:xfrm>
        </p:spPr>
        <p:txBody>
          <a:bodyPr/>
          <a:lstStyle/>
          <a:p>
            <a:r>
              <a:rPr lang="en-US" dirty="0" smtClean="0"/>
              <a:t>ENFit</a:t>
            </a:r>
            <a:r>
              <a:rPr lang="en-US" sz="2400" baseline="70000" dirty="0" smtClean="0"/>
              <a:t>TM</a:t>
            </a:r>
            <a:r>
              <a:rPr lang="en-US" sz="3600" baseline="30000" dirty="0" smtClean="0"/>
              <a:t> </a:t>
            </a:r>
            <a:r>
              <a:rPr lang="en-US" sz="3600" dirty="0" smtClean="0"/>
              <a:t>Updates</a:t>
            </a:r>
            <a:endParaRPr lang="en-US" sz="360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261152" y="1241946"/>
            <a:ext cx="8796221" cy="4920791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2600" b="1" dirty="0" smtClean="0"/>
              <a:t>Transition Connectors – Stocked August 2023</a:t>
            </a:r>
          </a:p>
          <a:p>
            <a:pPr marL="457200" indent="-4572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/>
              <a:t>Legacy </a:t>
            </a:r>
            <a:r>
              <a:rPr lang="en-US" sz="2800" b="1" dirty="0" smtClean="0">
                <a:sym typeface="Wingdings" panose="05000000000000000000" pitchFamily="2" charset="2"/>
              </a:rPr>
              <a:t> </a:t>
            </a:r>
            <a:r>
              <a:rPr lang="en-US" sz="2800" b="1" dirty="0" err="1" smtClean="0">
                <a:sym typeface="Wingdings" panose="05000000000000000000" pitchFamily="2" charset="2"/>
              </a:rPr>
              <a:t>ENFit</a:t>
            </a:r>
            <a:endParaRPr lang="en-US" sz="2800" b="1" dirty="0" smtClean="0">
              <a:sym typeface="Wingdings" panose="05000000000000000000" pitchFamily="2" charset="2"/>
            </a:endParaRPr>
          </a:p>
          <a:p>
            <a:pPr marL="457200" indent="-4572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2800" b="1" dirty="0">
              <a:sym typeface="Wingdings" panose="05000000000000000000" pitchFamily="2" charset="2"/>
            </a:endParaRPr>
          </a:p>
          <a:p>
            <a:pPr marL="457200" indent="-4572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2800" b="1" dirty="0" smtClean="0">
              <a:sym typeface="Wingdings" panose="05000000000000000000" pitchFamily="2" charset="2"/>
            </a:endParaRPr>
          </a:p>
          <a:p>
            <a:pPr marL="457200" indent="-4572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2800" b="1" dirty="0">
              <a:sym typeface="Wingdings" panose="05000000000000000000" pitchFamily="2" charset="2"/>
            </a:endParaRPr>
          </a:p>
          <a:p>
            <a:pPr marL="457200" indent="-4572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 err="1" smtClean="0">
                <a:sym typeface="Wingdings" panose="05000000000000000000" pitchFamily="2" charset="2"/>
              </a:rPr>
              <a:t>ENFit</a:t>
            </a:r>
            <a:r>
              <a:rPr lang="en-US" sz="2800" b="1" dirty="0" smtClean="0">
                <a:sym typeface="Wingdings" panose="05000000000000000000" pitchFamily="2" charset="2"/>
              </a:rPr>
              <a:t>  Legacy</a:t>
            </a:r>
            <a:endParaRPr lang="en-US" sz="2800" b="1" dirty="0" smtClean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2800" b="1" baseline="-42000" dirty="0" smtClean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53424" y="1920593"/>
            <a:ext cx="3480627" cy="1858388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53424" y="4323265"/>
            <a:ext cx="3524250" cy="1695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2484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1153" y="229997"/>
            <a:ext cx="6785599" cy="547925"/>
          </a:xfrm>
        </p:spPr>
        <p:txBody>
          <a:bodyPr/>
          <a:lstStyle/>
          <a:p>
            <a:r>
              <a:rPr lang="en-US" dirty="0" smtClean="0"/>
              <a:t>ENFit</a:t>
            </a:r>
            <a:r>
              <a:rPr lang="en-US" sz="2400" baseline="70000" dirty="0" smtClean="0"/>
              <a:t>TM</a:t>
            </a:r>
            <a:r>
              <a:rPr lang="en-US" sz="3600" baseline="30000" dirty="0" smtClean="0"/>
              <a:t> </a:t>
            </a:r>
            <a:r>
              <a:rPr lang="en-US" sz="3600" dirty="0" smtClean="0"/>
              <a:t>Updates</a:t>
            </a:r>
            <a:endParaRPr lang="en-US" sz="360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261153" y="1096290"/>
            <a:ext cx="8796221" cy="5264050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2800" b="1" dirty="0" err="1" smtClean="0"/>
              <a:t>ENFit</a:t>
            </a:r>
            <a:r>
              <a:rPr lang="en-US" sz="2800" b="1" dirty="0" smtClean="0"/>
              <a:t> Syringes – *Coming September, 2023</a:t>
            </a:r>
          </a:p>
          <a:p>
            <a:pPr marL="457200" lvl="1" indent="-4572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 smtClean="0"/>
              <a:t>Adults: 60 mL syringe (Bin# 97805)</a:t>
            </a:r>
          </a:p>
          <a:p>
            <a:pPr marL="457200" lvl="1" indent="-4572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 smtClean="0"/>
              <a:t>60 mL and 12 mL syringes</a:t>
            </a:r>
          </a:p>
          <a:p>
            <a:pPr marL="457200" lvl="1" indent="-4572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2800" dirty="0"/>
          </a:p>
          <a:p>
            <a:pPr marL="457200" lvl="1" indent="-4572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2800" dirty="0" smtClean="0"/>
          </a:p>
          <a:p>
            <a:pPr marL="457200" lvl="1" indent="-4572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2800" dirty="0"/>
          </a:p>
          <a:p>
            <a:pPr marL="457200" lvl="1" indent="-4572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2800" dirty="0" smtClean="0"/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2200" dirty="0" smtClean="0">
              <a:sym typeface="Wingdings" panose="05000000000000000000" pitchFamily="2" charset="2"/>
            </a:endParaRPr>
          </a:p>
          <a:p>
            <a:pPr marL="457200" lvl="1" indent="-4572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2800" dirty="0" smtClean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2800" b="1" baseline="-42000" dirty="0" smtClean="0"/>
          </a:p>
        </p:txBody>
      </p:sp>
      <p:pic>
        <p:nvPicPr>
          <p:cNvPr id="48130" name="Picture 2" descr="https://attachments.office.net.mcas.ms/owa/TSA3JH%40uvahealth.org/service.svc/s/GetAttachmentThumbnail?id=AAMkADM1MzJiZGZlLWIwMzctNGZmNC1iNmRhLWVmMTAzODliZTZhYQBGAAAAAABw5azqXj5kS5j1Evy0wl1RBwBuNNmfD5ZqS5tcszNgWj9eAAAAAAEMAAA0%2BNjxzfkrQYpf%2FqndeemOAAC2yEgTAAABEgAQADIPuVurkexEpWi1HwB5zEM%3D&amp;thumbnailType=2&amp;token=eyJhbGciOiJSUzI1NiIsImtpZCI6IjczRkI5QkJFRjYzNjc4RDRGN0U4NEI0NDBCQUJCMTJBMzM5RDlGOTgiLCJ0eXAiOiJKV1QiLCJ4NXQiOiJjX3VidnZZMmVOVDM2RXRFQzZ1eEtqT2RuNWcifQ.eyJvcmlnaW4iOiJodHRwczovL291dGxvb2sub2ZmaWNlLmNvbSIsInVjIjoiNzM0ZTQyNzdmNWE3NDMwY2I2MDA3ZTZmOWM4ODM1NTAiLCJzaWduaW5fc3RhdGUiOiJbXCJpbmtub3dubnR3a1wiXSIsInZlciI6IkV4Y2hhbmdlLkNhbGxiYWNrLlYxIiwiYXBwY3R4c2VuZGVyIjoiT3dhRG93bmxvYWRAMmE3YWU5MDktMDczYi00NzFiLWE1ZWItNzBiYmM3MTVlMjRjIiwiaXNzcmluZyI6IldXIiwiYXBwY3R4Ijoie1wibXNleGNocHJvdFwiOlwib3dhXCIsXCJwdWlkXCI6XCIxMTUzODAxMTE5Mzg3NzQzMjgzXCIsXCJzY29wZVwiOlwiT3dhRG93bmxvYWRcIixcIm9pZFwiOlwiYjg5YjFmMzctMDUxZS00NmY5LThmOWUtNzQxOGM4YjBjODMwXCIsXCJwcmltYXJ5c2lkXCI6XCJTLTEtNS0yMS0xMTQ3MDE3NzE2LTM2NTg4MjIxMDYtMzAzMTQ4NzI3MS0zODQ1NjA4MFwifSIsIm5iZiI6MTY4ODQ5NTgzNSwiZXhwIjoxNjg4NDk2NDM1LCJpc3MiOiIwMDAwMDAwMi0wMDAwLTBmZjEtY2UwMC0wMDAwMDAwMDAwMDBAMmE3YWU5MDktMDczYi00NzFiLWE1ZWItNzBiYmM3MTVlMjRjIiwiYXVkIjoiMDAwMDAwMDItMDAwMC0wZmYxLWNlMDAtMDAwMDAwMDAwMDAwL2F0dGFjaG1lbnRzLm9mZmljZS5uZXRAMmE3YWU5MDktMDczYi00NzFiLWE1ZWItNzBiYmM3MTVlMjRjIiwiaGFwcCI6Im93YSJ9.k7S4oxJ9UXrAI63U4_KU4fWMfDcxgtMqnxsh9q825OJADMi5GIoyOu8rMqA3sruIUgt9-kiCKvCyXDiK1rvOYmWjfMIl8bo4yQZFiIulPSTOfgPLYuefRRFu5lTWlfPS2H9vG68XLhb9keGfPeZMobnkmZWoqKneiuBif_GwxIX_XQn-f-Spej2RJJSl1MXtIRe1i01j_Ep4YVXO2DuNF-a1-APtiCrPZy06zQTSKL8XDvQwUv1hvHOYNRyDjzqi5cwIubahg5SIqnfwrWoCwxtRFP-fW4YRJtohpDChBMyZSp2qsMzfm3SdF0q6FAB6iwWqyutT2bZcBF2o-Xn4cg&amp;X-OWA-CANARY=HFjz2yHIO0Su3LsSg6Us30AedmG-fNsYoLdg9p1QxpdBit0SO8a2Pd92G_-_vRGHKty6u4C3IT0.&amp;owa=outlook.office.com&amp;scriptVer=20230623002.12&amp;animation=true&amp;McasCtx=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020" y="2912149"/>
            <a:ext cx="3253948" cy="2306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132" name="Picture 4" descr="https://attachments.office.net.mcas.ms/owa/TSA3JH%40uvahealth.org/service.svc/s/GetAttachmentThumbnail?id=AAMkADM1MzJiZGZlLWIwMzctNGZmNC1iNmRhLWVmMTAzODliZTZhYQBGAAAAAABw5azqXj5kS5j1Evy0wl1RBwBuNNmfD5ZqS5tcszNgWj9eAAAAAAEMAAA0%2BNjxzfkrQYpf%2FqndeemOAAC2yEgTAAABEgAQAGsG2fqwuwlKt0R24xrF0dA%3D&amp;thumbnailType=2&amp;token=eyJhbGciOiJSUzI1NiIsImtpZCI6IjczRkI5QkJFRjYzNjc4RDRGN0U4NEI0NDBCQUJCMTJBMzM5RDlGOTgiLCJ0eXAiOiJKV1QiLCJ4NXQiOiJjX3VidnZZMmVOVDM2RXRFQzZ1eEtqT2RuNWcifQ.eyJvcmlnaW4iOiJodHRwczovL291dGxvb2sub2ZmaWNlLmNvbSIsInVjIjoiNzM0ZTQyNzdmNWE3NDMwY2I2MDA3ZTZmOWM4ODM1NTAiLCJzaWduaW5fc3RhdGUiOiJbXCJpbmtub3dubnR3a1wiXSIsInZlciI6IkV4Y2hhbmdlLkNhbGxiYWNrLlYxIiwiYXBwY3R4c2VuZGVyIjoiT3dhRG93bmxvYWRAMmE3YWU5MDktMDczYi00NzFiLWE1ZWItNzBiYmM3MTVlMjRjIiwiaXNzcmluZyI6IldXIiwiYXBwY3R4Ijoie1wibXNleGNocHJvdFwiOlwib3dhXCIsXCJwdWlkXCI6XCIxMTUzODAxMTE5Mzg3NzQzMjgzXCIsXCJzY29wZVwiOlwiT3dhRG93bmxvYWRcIixcIm9pZFwiOlwiYjg5YjFmMzctMDUxZS00NmY5LThmOWUtNzQxOGM4YjBjODMwXCIsXCJwcmltYXJ5c2lkXCI6XCJTLTEtNS0yMS0xMTQ3MDE3NzE2LTM2NTg4MjIxMDYtMzAzMTQ4NzI3MS0zODQ1NjA4MFwifSIsIm5iZiI6MTY4ODQ5NTgzNSwiZXhwIjoxNjg4NDk2NDM1LCJpc3MiOiIwMDAwMDAwMi0wMDAwLTBmZjEtY2UwMC0wMDAwMDAwMDAwMDBAMmE3YWU5MDktMDczYi00NzFiLWE1ZWItNzBiYmM3MTVlMjRjIiwiYXVkIjoiMDAwMDAwMDItMDAwMC0wZmYxLWNlMDAtMDAwMDAwMDAwMDAwL2F0dGFjaG1lbnRzLm9mZmljZS5uZXRAMmE3YWU5MDktMDczYi00NzFiLWE1ZWItNzBiYmM3MTVlMjRjIiwiaGFwcCI6Im93YSJ9.k7S4oxJ9UXrAI63U4_KU4fWMfDcxgtMqnxsh9q825OJADMi5GIoyOu8rMqA3sruIUgt9-kiCKvCyXDiK1rvOYmWjfMIl8bo4yQZFiIulPSTOfgPLYuefRRFu5lTWlfPS2H9vG68XLhb9keGfPeZMobnkmZWoqKneiuBif_GwxIX_XQn-f-Spej2RJJSl1MXtIRe1i01j_Ep4YVXO2DuNF-a1-APtiCrPZy06zQTSKL8XDvQwUv1hvHOYNRyDjzqi5cwIubahg5SIqnfwrWoCwxtRFP-fW4YRJtohpDChBMyZSp2qsMzfm3SdF0q6FAB6iwWqyutT2bZcBF2o-Xn4cg&amp;X-OWA-CANARY=HFjz2yHIO0Su3LsSg6Us30AedmG-fNsYoLdg9p1QxpdBit0SO8a2Pd92G_-_vRGHKty6u4C3IT0.&amp;owa=outlook.office.com&amp;scriptVer=20230623002.12&amp;animation=true&amp;McasCtx=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5816" y="2912148"/>
            <a:ext cx="3390883" cy="2306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17815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1153" y="229997"/>
            <a:ext cx="6785599" cy="547925"/>
          </a:xfrm>
        </p:spPr>
        <p:txBody>
          <a:bodyPr/>
          <a:lstStyle/>
          <a:p>
            <a:r>
              <a:rPr lang="en-US" dirty="0" smtClean="0"/>
              <a:t>ENFit</a:t>
            </a:r>
            <a:r>
              <a:rPr lang="en-US" sz="2400" baseline="70000" dirty="0" smtClean="0"/>
              <a:t>TM</a:t>
            </a:r>
            <a:r>
              <a:rPr lang="en-US" sz="3600" baseline="30000" dirty="0" smtClean="0"/>
              <a:t> </a:t>
            </a:r>
            <a:r>
              <a:rPr lang="en-US" sz="3600" dirty="0" smtClean="0"/>
              <a:t>Updates</a:t>
            </a:r>
            <a:endParaRPr lang="en-US" sz="360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261153" y="1234212"/>
            <a:ext cx="8796221" cy="5264050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2800" b="1" dirty="0" err="1" smtClean="0"/>
              <a:t>ENFit</a:t>
            </a:r>
            <a:r>
              <a:rPr lang="en-US" sz="2800" b="1" dirty="0" smtClean="0"/>
              <a:t> Syringes – Practice implication?</a:t>
            </a:r>
          </a:p>
          <a:p>
            <a:pPr marL="457200" lvl="1" indent="-4572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600" dirty="0" err="1" smtClean="0">
                <a:sym typeface="Wingdings" panose="05000000000000000000" pitchFamily="2" charset="2"/>
              </a:rPr>
              <a:t>ENFit</a:t>
            </a:r>
            <a:r>
              <a:rPr lang="en-US" sz="2600" dirty="0" smtClean="0">
                <a:sym typeface="Wingdings" panose="05000000000000000000" pitchFamily="2" charset="2"/>
              </a:rPr>
              <a:t>  </a:t>
            </a:r>
            <a:r>
              <a:rPr lang="en-US" sz="2600" dirty="0" err="1" smtClean="0">
                <a:sym typeface="Wingdings" panose="05000000000000000000" pitchFamily="2" charset="2"/>
              </a:rPr>
              <a:t>ENFit</a:t>
            </a:r>
            <a:r>
              <a:rPr lang="en-US" sz="2600" dirty="0" smtClean="0">
                <a:sym typeface="Wingdings" panose="05000000000000000000" pitchFamily="2" charset="2"/>
              </a:rPr>
              <a:t> vs… (syringe)</a:t>
            </a:r>
          </a:p>
          <a:p>
            <a:pPr marL="457200" lvl="1" indent="-4572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600" dirty="0" smtClean="0">
                <a:sym typeface="Wingdings" panose="05000000000000000000" pitchFamily="2" charset="2"/>
              </a:rPr>
              <a:t>Legacy  </a:t>
            </a:r>
            <a:r>
              <a:rPr lang="en-US" sz="2600" dirty="0" err="1" smtClean="0">
                <a:sym typeface="Wingdings" panose="05000000000000000000" pitchFamily="2" charset="2"/>
              </a:rPr>
              <a:t>ENFit</a:t>
            </a:r>
            <a:r>
              <a:rPr lang="en-US" sz="2600" dirty="0" smtClean="0">
                <a:sym typeface="Wingdings" panose="05000000000000000000" pitchFamily="2" charset="2"/>
              </a:rPr>
              <a:t> (syringe, </a:t>
            </a:r>
            <a:r>
              <a:rPr lang="en-US" sz="2600" dirty="0" err="1" smtClean="0">
                <a:sym typeface="Wingdings" panose="05000000000000000000" pitchFamily="2" charset="2"/>
              </a:rPr>
              <a:t>cath</a:t>
            </a:r>
            <a:r>
              <a:rPr lang="en-US" sz="2600" dirty="0" smtClean="0">
                <a:sym typeface="Wingdings" panose="05000000000000000000" pitchFamily="2" charset="2"/>
              </a:rPr>
              <a:t> tip, transition connector)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2800" dirty="0" smtClean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2800" b="1" baseline="-42000" dirty="0" smtClean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2800" b="1" baseline="-42000" dirty="0" smtClean="0"/>
          </a:p>
        </p:txBody>
      </p:sp>
      <p:pic>
        <p:nvPicPr>
          <p:cNvPr id="49156" name="Picture 4" descr="https://attachments.office.net.mcas.ms/owa/TSA3JH%40uvahealth.org/service.svc/s/GetAttachmentThumbnail?id=AAMkADM1MzJiZGZlLWIwMzctNGZmNC1iNmRhLWVmMTAzODliZTZhYQBGAAAAAABw5azqXj5kS5j1Evy0wl1RBwBuNNmfD5ZqS5tcszNgWj9eAAAAAAEMAAA0%2BNjxzfkrQYpf%2FqndeemOAAC2yEgVAAABEgAQAIsGTUQUY%2BxBs8v8GqK4fko%3D&amp;thumbnailType=2&amp;token=eyJhbGciOiJSUzI1NiIsImtpZCI6IjczRkI5QkJFRjYzNjc4RDRGN0U4NEI0NDBCQUJCMTJBMzM5RDlGOTgiLCJ0eXAiOiJKV1QiLCJ4NXQiOiJjX3VidnZZMmVOVDM2RXRFQzZ1eEtqT2RuNWcifQ.eyJvcmlnaW4iOiJodHRwczovL291dGxvb2sub2ZmaWNlLmNvbSIsInVjIjoiNzM0ZTQyNzdmNWE3NDMwY2I2MDA3ZTZmOWM4ODM1NTAiLCJzaWduaW5fc3RhdGUiOiJbXCJpbmtub3dubnR3a1wiXSIsInZlciI6IkV4Y2hhbmdlLkNhbGxiYWNrLlYxIiwiYXBwY3R4c2VuZGVyIjoiT3dhRG93bmxvYWRAMmE3YWU5MDktMDczYi00NzFiLWE1ZWItNzBiYmM3MTVlMjRjIiwiaXNzcmluZyI6IldXIiwiYXBwY3R4Ijoie1wibXNleGNocHJvdFwiOlwib3dhXCIsXCJwdWlkXCI6XCIxMTUzODAxMTE5Mzg3NzQzMjgzXCIsXCJzY29wZVwiOlwiT3dhRG93bmxvYWRcIixcIm9pZFwiOlwiYjg5YjFmMzctMDUxZS00NmY5LThmOWUtNzQxOGM4YjBjODMwXCIsXCJwcmltYXJ5c2lkXCI6XCJTLTEtNS0yMS0xMTQ3MDE3NzE2LTM2NTg4MjIxMDYtMzAzMTQ4NzI3MS0zODQ1NjA4MFwifSIsIm5iZiI6MTY4ODQ5Njc5MiwiZXhwIjoxNjg4NDk3MzkyLCJpc3MiOiIwMDAwMDAwMi0wMDAwLTBmZjEtY2UwMC0wMDAwMDAwMDAwMDBAMmE3YWU5MDktMDczYi00NzFiLWE1ZWItNzBiYmM3MTVlMjRjIiwiYXVkIjoiMDAwMDAwMDItMDAwMC0wZmYxLWNlMDAtMDAwMDAwMDAwMDAwL2F0dGFjaG1lbnRzLm9mZmljZS5uZXRAMmE3YWU5MDktMDczYi00NzFiLWE1ZWItNzBiYmM3MTVlMjRjIiwiaGFwcCI6Im93YSJ9.C-7xKzjMz1dQZMS88ggzJWQy73o2bDgjYwxO0gZURgCHAq83cYgY3sQtISWyyMGFdp9xyL6IBONjlSiwXT0yyL3UqqJ33xgIeLGPxMw2l2yAc2SIYLMEAXe5tf_uAdCQ9KB5NLLXSAn9ZNIehZ6_ts3lWVzDDsnCqyyOj2ufV11x7Hih5PnSDnQ6fWPfnY3giUnQ2g4zzy5Gccp_0nc5PBQ31-OalYwNp6Df2yWpbCNyzufyPsE0qk784xEi-g7cDsGFtXDcgwIBbUEvco_uzD7ipqWil-iWz8x7nEeiTBabX5HCvilqEKTxDV3chxO4OynlhP_hJk9K6OBvp4E1HA&amp;X-OWA-CANARY=zs9LiMIRIUWMnNbzQ9HXg2CuJvO_fNsYeMyCCey3LxeglCmFubapXt906Dhdk490_MrCR09zTBk.&amp;owa=outlook.office.com&amp;scriptVer=20230623002.12&amp;animation=true&amp;McasCtx=1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111" b="20164"/>
          <a:stretch/>
        </p:blipFill>
        <p:spPr bwMode="auto">
          <a:xfrm>
            <a:off x="349784" y="3091516"/>
            <a:ext cx="4618181" cy="16184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158" name="Picture 6" descr="https://attachments.office.net.mcas.ms/owa/TSA3JH%40uvahealth.org/service.svc/s/GetAttachmentThumbnail?id=AAMkADM1MzJiZGZlLWIwMzctNGZmNC1iNmRhLWVmMTAzODliZTZhYQBGAAAAAABw5azqXj5kS5j1Evy0wl1RBwBuNNmfD5ZqS5tcszNgWj9eAAAAAAEMAAA0%2BNjxzfkrQYpf%2FqndeemOAAC2yEgVAAABEgAQAOkidF246p9LpkjEfFpu6hk%3D&amp;thumbnailType=2&amp;token=eyJhbGciOiJSUzI1NiIsImtpZCI6IjczRkI5QkJFRjYzNjc4RDRGN0U4NEI0NDBCQUJCMTJBMzM5RDlGOTgiLCJ0eXAiOiJKV1QiLCJ4NXQiOiJjX3VidnZZMmVOVDM2RXRFQzZ1eEtqT2RuNWcifQ.eyJvcmlnaW4iOiJodHRwczovL291dGxvb2sub2ZmaWNlLmNvbSIsInVjIjoiNzM0ZTQyNzdmNWE3NDMwY2I2MDA3ZTZmOWM4ODM1NTAiLCJzaWduaW5fc3RhdGUiOiJbXCJpbmtub3dubnR3a1wiXSIsInZlciI6IkV4Y2hhbmdlLkNhbGxiYWNrLlYxIiwiYXBwY3R4c2VuZGVyIjoiT3dhRG93bmxvYWRAMmE3YWU5MDktMDczYi00NzFiLWE1ZWItNzBiYmM3MTVlMjRjIiwiaXNzcmluZyI6IldXIiwiYXBwY3R4Ijoie1wibXNleGNocHJvdFwiOlwib3dhXCIsXCJwdWlkXCI6XCIxMTUzODAxMTE5Mzg3NzQzMjgzXCIsXCJzY29wZVwiOlwiT3dhRG93bmxvYWRcIixcIm9pZFwiOlwiYjg5YjFmMzctMDUxZS00NmY5LThmOWUtNzQxOGM4YjBjODMwXCIsXCJwcmltYXJ5c2lkXCI6XCJTLTEtNS0yMS0xMTQ3MDE3NzE2LTM2NTg4MjIxMDYtMzAzMTQ4NzI3MS0zODQ1NjA4MFwifSIsIm5iZiI6MTY4ODQ5Njc5MiwiZXhwIjoxNjg4NDk3MzkyLCJpc3MiOiIwMDAwMDAwMi0wMDAwLTBmZjEtY2UwMC0wMDAwMDAwMDAwMDBAMmE3YWU5MDktMDczYi00NzFiLWE1ZWItNzBiYmM3MTVlMjRjIiwiYXVkIjoiMDAwMDAwMDItMDAwMC0wZmYxLWNlMDAtMDAwMDAwMDAwMDAwL2F0dGFjaG1lbnRzLm9mZmljZS5uZXRAMmE3YWU5MDktMDczYi00NzFiLWE1ZWItNzBiYmM3MTVlMjRjIiwiaGFwcCI6Im93YSJ9.C-7xKzjMz1dQZMS88ggzJWQy73o2bDgjYwxO0gZURgCHAq83cYgY3sQtISWyyMGFdp9xyL6IBONjlSiwXT0yyL3UqqJ33xgIeLGPxMw2l2yAc2SIYLMEAXe5tf_uAdCQ9KB5NLLXSAn9ZNIehZ6_ts3lWVzDDsnCqyyOj2ufV11x7Hih5PnSDnQ6fWPfnY3giUnQ2g4zzy5Gccp_0nc5PBQ31-OalYwNp6Df2yWpbCNyzufyPsE0qk784xEi-g7cDsGFtXDcgwIBbUEvco_uzD7ipqWil-iWz8x7nEeiTBabX5HCvilqEKTxDV3chxO4OynlhP_hJk9K6OBvp4E1HA&amp;X-OWA-CANARY=zs9LiMIRIUWMnNbzQ9HXg2CuJvO_fNsYeMyCCey3LxeglCmFubapXt906Dhdk490_MrCR09zTBk.&amp;owa=outlook.office.com&amp;scriptVer=20230623002.12&amp;animation=true&amp;McasCtx=1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83" t="20199" r="6048" b="27235"/>
          <a:stretch/>
        </p:blipFill>
        <p:spPr bwMode="auto">
          <a:xfrm>
            <a:off x="5087714" y="3090900"/>
            <a:ext cx="2737284" cy="1616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160" name="Picture 8" descr="https://attachments.office.net.mcas.ms/owa/TSA3JH%40uvahealth.org/service.svc/s/GetAttachmentThumbnail?id=AAMkADM1MzJiZGZlLWIwMzctNGZmNC1iNmRhLWVmMTAzODliZTZhYQBGAAAAAABw5azqXj5kS5j1Evy0wl1RBwBuNNmfD5ZqS5tcszNgWj9eAAAAAAEMAAA0%2BNjxzfkrQYpf%2FqndeemOAAC2yEgVAAABEgAQAMoJF3KxSH1CueIxPrS9WeE%3D&amp;thumbnailType=2&amp;token=eyJhbGciOiJSUzI1NiIsImtpZCI6IjczRkI5QkJFRjYzNjc4RDRGN0U4NEI0NDBCQUJCMTJBMzM5RDlGOTgiLCJ0eXAiOiJKV1QiLCJ4NXQiOiJjX3VidnZZMmVOVDM2RXRFQzZ1eEtqT2RuNWcifQ.eyJvcmlnaW4iOiJodHRwczovL291dGxvb2sub2ZmaWNlLmNvbSIsInVjIjoiNzM0ZTQyNzdmNWE3NDMwY2I2MDA3ZTZmOWM4ODM1NTAiLCJzaWduaW5fc3RhdGUiOiJbXCJpbmtub3dubnR3a1wiXSIsInZlciI6IkV4Y2hhbmdlLkNhbGxiYWNrLlYxIiwiYXBwY3R4c2VuZGVyIjoiT3dhRG93bmxvYWRAMmE3YWU5MDktMDczYi00NzFiLWE1ZWItNzBiYmM3MTVlMjRjIiwiaXNzcmluZyI6IldXIiwiYXBwY3R4Ijoie1wibXNleGNocHJvdFwiOlwib3dhXCIsXCJwdWlkXCI6XCIxMTUzODAxMTE5Mzg3NzQzMjgzXCIsXCJzY29wZVwiOlwiT3dhRG93bmxvYWRcIixcIm9pZFwiOlwiYjg5YjFmMzctMDUxZS00NmY5LThmOWUtNzQxOGM4YjBjODMwXCIsXCJwcmltYXJ5c2lkXCI6XCJTLTEtNS0yMS0xMTQ3MDE3NzE2LTM2NTg4MjIxMDYtMzAzMTQ4NzI3MS0zODQ1NjA4MFwifSIsIm5iZiI6MTY4ODQ5Njc5MiwiZXhwIjoxNjg4NDk3MzkyLCJpc3MiOiIwMDAwMDAwMi0wMDAwLTBmZjEtY2UwMC0wMDAwMDAwMDAwMDBAMmE3YWU5MDktMDczYi00NzFiLWE1ZWItNzBiYmM3MTVlMjRjIiwiYXVkIjoiMDAwMDAwMDItMDAwMC0wZmYxLWNlMDAtMDAwMDAwMDAwMDAwL2F0dGFjaG1lbnRzLm9mZmljZS5uZXRAMmE3YWU5MDktMDczYi00NzFiLWE1ZWItNzBiYmM3MTVlMjRjIiwiaGFwcCI6Im93YSJ9.C-7xKzjMz1dQZMS88ggzJWQy73o2bDgjYwxO0gZURgCHAq83cYgY3sQtISWyyMGFdp9xyL6IBONjlSiwXT0yyL3UqqJ33xgIeLGPxMw2l2yAc2SIYLMEAXe5tf_uAdCQ9KB5NLLXSAn9ZNIehZ6_ts3lWVzDDsnCqyyOj2ufV11x7Hih5PnSDnQ6fWPfnY3giUnQ2g4zzy5Gccp_0nc5PBQ31-OalYwNp6Df2yWpbCNyzufyPsE0qk784xEi-g7cDsGFtXDcgwIBbUEvco_uzD7ipqWil-iWz8x7nEeiTBabX5HCvilqEKTxDV3chxO4OynlhP_hJk9K6OBvp4E1HA&amp;X-OWA-CANARY=zs9LiMIRIUWMnNbzQ9HXg2CuJvO_fNsYeMyCCey3LxeglCmFubapXt906Dhdk490_MrCR09zTBk.&amp;owa=outlook.office.com&amp;scriptVer=20230623002.12&amp;animation=true&amp;McasCtx=1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172" r="8702" b="29713"/>
          <a:stretch/>
        </p:blipFill>
        <p:spPr bwMode="auto">
          <a:xfrm>
            <a:off x="341692" y="4896328"/>
            <a:ext cx="4948009" cy="16675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5382455" y="4896327"/>
            <a:ext cx="35916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50 mL syringe (Bin: 97144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Cath Tip Adapter (Bin: 92185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Enteral Funnel </a:t>
            </a:r>
            <a:r>
              <a:rPr lang="en-US" dirty="0" err="1" smtClean="0">
                <a:solidFill>
                  <a:schemeClr val="bg1"/>
                </a:solidFill>
              </a:rPr>
              <a:t>ENFit</a:t>
            </a:r>
            <a:r>
              <a:rPr lang="en-US" dirty="0" smtClean="0">
                <a:solidFill>
                  <a:schemeClr val="bg1"/>
                </a:solidFill>
              </a:rPr>
              <a:t> Transition Connector with cap (Bin: 99817)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921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1153" y="229997"/>
            <a:ext cx="6785599" cy="547925"/>
          </a:xfrm>
        </p:spPr>
        <p:txBody>
          <a:bodyPr/>
          <a:lstStyle/>
          <a:p>
            <a:r>
              <a:rPr lang="en-US" dirty="0" smtClean="0"/>
              <a:t>ENFit</a:t>
            </a:r>
            <a:r>
              <a:rPr lang="en-US" sz="2400" baseline="70000" dirty="0" smtClean="0"/>
              <a:t>TM</a:t>
            </a:r>
            <a:r>
              <a:rPr lang="en-US" sz="3600" baseline="30000" dirty="0" smtClean="0"/>
              <a:t> </a:t>
            </a:r>
            <a:r>
              <a:rPr lang="en-US" sz="3600" dirty="0" smtClean="0"/>
              <a:t>Updates</a:t>
            </a:r>
            <a:endParaRPr lang="en-US" sz="360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261152" y="1241946"/>
            <a:ext cx="8796221" cy="4920791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2500" b="1" dirty="0" err="1" smtClean="0"/>
              <a:t>ENFit</a:t>
            </a:r>
            <a:r>
              <a:rPr lang="en-US" sz="2500" b="1" dirty="0" smtClean="0"/>
              <a:t> CO</a:t>
            </a:r>
            <a:r>
              <a:rPr lang="en-US" sz="2500" b="1" baseline="-42000" dirty="0" smtClean="0"/>
              <a:t>2 </a:t>
            </a:r>
            <a:r>
              <a:rPr lang="en-US" sz="2500" b="1" dirty="0" smtClean="0"/>
              <a:t>Colorimetric Device – *Coming September, 2023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2800" dirty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2800" dirty="0" smtClean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2800" dirty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2800" dirty="0" smtClean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2800" dirty="0"/>
          </a:p>
          <a:p>
            <a:pPr fontAlgn="base"/>
            <a:endParaRPr lang="en-US" sz="2800" dirty="0"/>
          </a:p>
          <a:p>
            <a:pPr fontAlgn="base"/>
            <a:r>
              <a:rPr lang="en-US" dirty="0" smtClean="0"/>
              <a:t>Practice </a:t>
            </a:r>
            <a:r>
              <a:rPr lang="en-US" dirty="0"/>
              <a:t>implication</a:t>
            </a:r>
            <a:r>
              <a:rPr lang="en-US" dirty="0" smtClean="0"/>
              <a:t>?</a:t>
            </a:r>
            <a:endParaRPr lang="en-US" dirty="0"/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Use </a:t>
            </a:r>
            <a:r>
              <a:rPr lang="en-US" dirty="0" err="1"/>
              <a:t>ENFit</a:t>
            </a:r>
            <a:r>
              <a:rPr lang="en-US" dirty="0"/>
              <a:t> </a:t>
            </a:r>
            <a:r>
              <a:rPr lang="en-US" dirty="0" smtClean="0"/>
              <a:t>colorimetric </a:t>
            </a:r>
            <a:r>
              <a:rPr lang="en-US" dirty="0"/>
              <a:t>CO2 detectors </a:t>
            </a:r>
            <a:r>
              <a:rPr lang="en-US" b="1" dirty="0"/>
              <a:t>only with</a:t>
            </a:r>
            <a:r>
              <a:rPr lang="en-US" dirty="0"/>
              <a:t> </a:t>
            </a:r>
            <a:r>
              <a:rPr lang="en-US" dirty="0" err="1"/>
              <a:t>ENFit</a:t>
            </a:r>
            <a:r>
              <a:rPr lang="en-US" dirty="0"/>
              <a:t> </a:t>
            </a:r>
            <a:r>
              <a:rPr lang="en-US" dirty="0" smtClean="0"/>
              <a:t>tubes needed for provider placement in areas without </a:t>
            </a:r>
            <a:r>
              <a:rPr lang="en-US" dirty="0" err="1" smtClean="0"/>
              <a:t>fluro</a:t>
            </a:r>
            <a:r>
              <a:rPr lang="en-US" dirty="0" smtClean="0"/>
              <a:t> guidance (ICU/CCU)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2800" dirty="0" smtClean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2800" dirty="0" smtClean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2800" dirty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2800" dirty="0" smtClean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2800" b="1" baseline="-42000" dirty="0" smtClean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l="50083"/>
          <a:stretch/>
        </p:blipFill>
        <p:spPr>
          <a:xfrm>
            <a:off x="3043814" y="1964029"/>
            <a:ext cx="3230895" cy="3021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335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1153" y="229997"/>
            <a:ext cx="6785599" cy="547925"/>
          </a:xfrm>
        </p:spPr>
        <p:txBody>
          <a:bodyPr/>
          <a:lstStyle/>
          <a:p>
            <a:r>
              <a:rPr lang="en-US" dirty="0" smtClean="0"/>
              <a:t>ENFit</a:t>
            </a:r>
            <a:r>
              <a:rPr lang="en-US" sz="2400" baseline="70000" dirty="0" smtClean="0"/>
              <a:t>TM</a:t>
            </a:r>
            <a:r>
              <a:rPr lang="en-US" sz="3600" baseline="30000" dirty="0" smtClean="0"/>
              <a:t> </a:t>
            </a:r>
            <a:r>
              <a:rPr lang="en-US" sz="3600" dirty="0" smtClean="0"/>
              <a:t>Updates</a:t>
            </a:r>
            <a:endParaRPr lang="en-US" sz="360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261152" y="1241946"/>
            <a:ext cx="8796221" cy="4920791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2500" dirty="0" smtClean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2500" dirty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2500" dirty="0" smtClean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2500" dirty="0" smtClean="0"/>
              <a:t>What can I do in the meantime to educate my practice area?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2800" dirty="0" smtClean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2800" dirty="0" smtClean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2800" dirty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2800" dirty="0" smtClean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2800" b="1" baseline="-42000" dirty="0" smtClean="0"/>
          </a:p>
        </p:txBody>
      </p:sp>
    </p:spTree>
    <p:extLst>
      <p:ext uri="{BB962C8B-B14F-4D97-AF65-F5344CB8AC3E}">
        <p14:creationId xmlns:p14="http://schemas.microsoft.com/office/powerpoint/2010/main" val="3961456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heme/theme1.xml><?xml version="1.0" encoding="utf-8"?>
<a:theme xmlns:a="http://schemas.openxmlformats.org/drawingml/2006/main" name="Title Slide 2">
  <a:themeElements>
    <a:clrScheme name="Custom 2">
      <a:dk1>
        <a:srgbClr val="E57228"/>
      </a:dk1>
      <a:lt1>
        <a:srgbClr val="262F3E"/>
      </a:lt1>
      <a:dk2>
        <a:srgbClr val="FFFFFE"/>
      </a:dk2>
      <a:lt2>
        <a:srgbClr val="FDFCFB"/>
      </a:lt2>
      <a:accent1>
        <a:srgbClr val="123C63"/>
      </a:accent1>
      <a:accent2>
        <a:srgbClr val="005256"/>
      </a:accent2>
      <a:accent3>
        <a:srgbClr val="9E283F"/>
      </a:accent3>
      <a:accent4>
        <a:srgbClr val="DEB021"/>
      </a:accent4>
      <a:accent5>
        <a:srgbClr val="FFFFFE"/>
      </a:accent5>
      <a:accent6>
        <a:srgbClr val="FDFCFB"/>
      </a:accent6>
      <a:hlink>
        <a:srgbClr val="0000FF"/>
      </a:hlink>
      <a:folHlink>
        <a:srgbClr val="800080"/>
      </a:folHlink>
    </a:clrScheme>
    <a:fontScheme name="Angles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微软雅黑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ＭＳ Ｐゴシック"/>
        <a:font script="Hang" typeface="맑은 고딕"/>
        <a:font script="Hans" typeface="隶书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2_UVA GEN logo and paths top">
  <a:themeElements>
    <a:clrScheme name="Custom 5">
      <a:dk1>
        <a:srgbClr val="E57228"/>
      </a:dk1>
      <a:lt1>
        <a:srgbClr val="262F3E"/>
      </a:lt1>
      <a:dk2>
        <a:srgbClr val="FFFFFE"/>
      </a:dk2>
      <a:lt2>
        <a:srgbClr val="FDFCFB"/>
      </a:lt2>
      <a:accent1>
        <a:srgbClr val="123C63"/>
      </a:accent1>
      <a:accent2>
        <a:srgbClr val="005256"/>
      </a:accent2>
      <a:accent3>
        <a:srgbClr val="9E283F"/>
      </a:accent3>
      <a:accent4>
        <a:srgbClr val="DEB021"/>
      </a:accent4>
      <a:accent5>
        <a:srgbClr val="FFFFFE"/>
      </a:accent5>
      <a:accent6>
        <a:srgbClr val="FDFCFB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1_White">
  <a:themeElements>
    <a:clrScheme name="Scheme1">
      <a:dk1>
        <a:srgbClr val="262F3E"/>
      </a:dk1>
      <a:lt1>
        <a:srgbClr val="FFFFFF"/>
      </a:lt1>
      <a:dk2>
        <a:srgbClr val="FFFFFF"/>
      </a:dk2>
      <a:lt2>
        <a:srgbClr val="FFFFFF"/>
      </a:lt2>
      <a:accent1>
        <a:srgbClr val="232D4B"/>
      </a:accent1>
      <a:accent2>
        <a:srgbClr val="E57228"/>
      </a:accent2>
      <a:accent3>
        <a:srgbClr val="005256"/>
      </a:accent3>
      <a:accent4>
        <a:srgbClr val="DEB021"/>
      </a:accent4>
      <a:accent5>
        <a:srgbClr val="123C63"/>
      </a:accent5>
      <a:accent6>
        <a:srgbClr val="9E283F"/>
      </a:accent6>
      <a:hlink>
        <a:srgbClr val="0000FF"/>
      </a:hlink>
      <a:folHlink>
        <a:srgbClr val="800080"/>
      </a:folHlink>
    </a:clrScheme>
    <a:fontScheme name="Franklin Gothic">
      <a:majorFont>
        <a:latin typeface="Franklin Gothic Medium" panose="020B0603020102020204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262F3E"/>
        </a:dk1>
        <a:lt1>
          <a:srgbClr val="FFFFFF"/>
        </a:lt1>
        <a:dk2>
          <a:srgbClr val="FFFFFF"/>
        </a:dk2>
        <a:lt2>
          <a:srgbClr val="FFFFFF"/>
        </a:lt2>
        <a:accent1>
          <a:srgbClr val="232D4B"/>
        </a:accent1>
        <a:accent2>
          <a:srgbClr val="E57228"/>
        </a:accent2>
        <a:accent3>
          <a:srgbClr val="005256"/>
        </a:accent3>
        <a:accent4>
          <a:srgbClr val="DEB021"/>
        </a:accent4>
        <a:accent5>
          <a:srgbClr val="123C63"/>
        </a:accent5>
        <a:accent6>
          <a:srgbClr val="9E283F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US1047_OFF.potx" id="{13EE633A-C125-47FD-84C3-171E9A1437BC}" vid="{E050DA21-0320-456B-AC7A-690B72BFC35D}"/>
    </a:ext>
  </a:extLst>
</a:theme>
</file>

<file path=ppt/theme/theme12.xml><?xml version="1.0" encoding="utf-8"?>
<a:theme xmlns:a="http://schemas.openxmlformats.org/drawingml/2006/main" name="3_UVA GEN logo and paths top">
  <a:themeElements>
    <a:clrScheme name="Custom 5">
      <a:dk1>
        <a:srgbClr val="E57228"/>
      </a:dk1>
      <a:lt1>
        <a:srgbClr val="262F3E"/>
      </a:lt1>
      <a:dk2>
        <a:srgbClr val="FFFFFE"/>
      </a:dk2>
      <a:lt2>
        <a:srgbClr val="FDFCFB"/>
      </a:lt2>
      <a:accent1>
        <a:srgbClr val="123C63"/>
      </a:accent1>
      <a:accent2>
        <a:srgbClr val="005256"/>
      </a:accent2>
      <a:accent3>
        <a:srgbClr val="9E283F"/>
      </a:accent3>
      <a:accent4>
        <a:srgbClr val="DEB021"/>
      </a:accent4>
      <a:accent5>
        <a:srgbClr val="FFFFFE"/>
      </a:accent5>
      <a:accent6>
        <a:srgbClr val="FDFCFB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3.xml><?xml version="1.0" encoding="utf-8"?>
<a:theme xmlns:a="http://schemas.openxmlformats.org/drawingml/2006/main" name="2_White">
  <a:themeElements>
    <a:clrScheme name="Scheme1">
      <a:dk1>
        <a:srgbClr val="262F3E"/>
      </a:dk1>
      <a:lt1>
        <a:srgbClr val="FFFFFF"/>
      </a:lt1>
      <a:dk2>
        <a:srgbClr val="FFFFFF"/>
      </a:dk2>
      <a:lt2>
        <a:srgbClr val="FFFFFF"/>
      </a:lt2>
      <a:accent1>
        <a:srgbClr val="232D4B"/>
      </a:accent1>
      <a:accent2>
        <a:srgbClr val="E57228"/>
      </a:accent2>
      <a:accent3>
        <a:srgbClr val="005256"/>
      </a:accent3>
      <a:accent4>
        <a:srgbClr val="DEB021"/>
      </a:accent4>
      <a:accent5>
        <a:srgbClr val="123C63"/>
      </a:accent5>
      <a:accent6>
        <a:srgbClr val="9E283F"/>
      </a:accent6>
      <a:hlink>
        <a:srgbClr val="0000FF"/>
      </a:hlink>
      <a:folHlink>
        <a:srgbClr val="800080"/>
      </a:folHlink>
    </a:clrScheme>
    <a:fontScheme name="Custom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262F3E"/>
        </a:dk1>
        <a:lt1>
          <a:srgbClr val="FFFFFF"/>
        </a:lt1>
        <a:dk2>
          <a:srgbClr val="FFFFFF"/>
        </a:dk2>
        <a:lt2>
          <a:srgbClr val="FFFFFF"/>
        </a:lt2>
        <a:accent1>
          <a:srgbClr val="232D4B"/>
        </a:accent1>
        <a:accent2>
          <a:srgbClr val="E57228"/>
        </a:accent2>
        <a:accent3>
          <a:srgbClr val="005256"/>
        </a:accent3>
        <a:accent4>
          <a:srgbClr val="DEB021"/>
        </a:accent4>
        <a:accent5>
          <a:srgbClr val="123C63"/>
        </a:accent5>
        <a:accent6>
          <a:srgbClr val="9E283F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US1047_OFF.potx" id="{13EE633A-C125-47FD-84C3-171E9A1437BC}" vid="{E050DA21-0320-456B-AC7A-690B72BFC35D}"/>
    </a:ext>
  </a:extLst>
</a:theme>
</file>

<file path=ppt/theme/theme14.xml><?xml version="1.0" encoding="utf-8"?>
<a:theme xmlns:a="http://schemas.openxmlformats.org/drawingml/2006/main" name="4_Title Slide 2">
  <a:themeElements>
    <a:clrScheme name="Custom 2">
      <a:dk1>
        <a:srgbClr val="E57228"/>
      </a:dk1>
      <a:lt1>
        <a:srgbClr val="262F3E"/>
      </a:lt1>
      <a:dk2>
        <a:srgbClr val="FFFFFE"/>
      </a:dk2>
      <a:lt2>
        <a:srgbClr val="FDFCFB"/>
      </a:lt2>
      <a:accent1>
        <a:srgbClr val="123C63"/>
      </a:accent1>
      <a:accent2>
        <a:srgbClr val="005256"/>
      </a:accent2>
      <a:accent3>
        <a:srgbClr val="9E283F"/>
      </a:accent3>
      <a:accent4>
        <a:srgbClr val="DEB021"/>
      </a:accent4>
      <a:accent5>
        <a:srgbClr val="FFFFFE"/>
      </a:accent5>
      <a:accent6>
        <a:srgbClr val="FDFCFB"/>
      </a:accent6>
      <a:hlink>
        <a:srgbClr val="0000FF"/>
      </a:hlink>
      <a:folHlink>
        <a:srgbClr val="800080"/>
      </a:folHlink>
    </a:clrScheme>
    <a:fontScheme name="Angles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微软雅黑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ＭＳ Ｐゴシック"/>
        <a:font script="Hang" typeface="맑은 고딕"/>
        <a:font script="Hans" typeface="隶书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5.xml><?xml version="1.0" encoding="utf-8"?>
<a:theme xmlns:a="http://schemas.openxmlformats.org/drawingml/2006/main" name="4_UVA GEN logo and paths top">
  <a:themeElements>
    <a:clrScheme name="Custom 5">
      <a:dk1>
        <a:srgbClr val="E57228"/>
      </a:dk1>
      <a:lt1>
        <a:srgbClr val="262F3E"/>
      </a:lt1>
      <a:dk2>
        <a:srgbClr val="FFFFFE"/>
      </a:dk2>
      <a:lt2>
        <a:srgbClr val="FDFCFB"/>
      </a:lt2>
      <a:accent1>
        <a:srgbClr val="123C63"/>
      </a:accent1>
      <a:accent2>
        <a:srgbClr val="005256"/>
      </a:accent2>
      <a:accent3>
        <a:srgbClr val="9E283F"/>
      </a:accent3>
      <a:accent4>
        <a:srgbClr val="DEB021"/>
      </a:accent4>
      <a:accent5>
        <a:srgbClr val="FFFFFE"/>
      </a:accent5>
      <a:accent6>
        <a:srgbClr val="FDFCFB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6.xml><?xml version="1.0" encoding="utf-8"?>
<a:theme xmlns:a="http://schemas.openxmlformats.org/drawingml/2006/main" name="5_Title Slide 2">
  <a:themeElements>
    <a:clrScheme name="Custom 2">
      <a:dk1>
        <a:srgbClr val="E57228"/>
      </a:dk1>
      <a:lt1>
        <a:srgbClr val="262F3E"/>
      </a:lt1>
      <a:dk2>
        <a:srgbClr val="FFFFFE"/>
      </a:dk2>
      <a:lt2>
        <a:srgbClr val="FDFCFB"/>
      </a:lt2>
      <a:accent1>
        <a:srgbClr val="123C63"/>
      </a:accent1>
      <a:accent2>
        <a:srgbClr val="005256"/>
      </a:accent2>
      <a:accent3>
        <a:srgbClr val="9E283F"/>
      </a:accent3>
      <a:accent4>
        <a:srgbClr val="DEB021"/>
      </a:accent4>
      <a:accent5>
        <a:srgbClr val="FFFFFE"/>
      </a:accent5>
      <a:accent6>
        <a:srgbClr val="FDFCFB"/>
      </a:accent6>
      <a:hlink>
        <a:srgbClr val="0000FF"/>
      </a:hlink>
      <a:folHlink>
        <a:srgbClr val="800080"/>
      </a:folHlink>
    </a:clrScheme>
    <a:fontScheme name="Angles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微软雅黑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ＭＳ Ｐゴシック"/>
        <a:font script="Hang" typeface="맑은 고딕"/>
        <a:font script="Hans" typeface="隶书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7.xml><?xml version="1.0" encoding="utf-8"?>
<a:theme xmlns:a="http://schemas.openxmlformats.org/drawingml/2006/main" name="4_UVA GEN inside 6">
  <a:themeElements>
    <a:clrScheme name="UVA New Brand Colors - USE">
      <a:dk1>
        <a:srgbClr val="E57228"/>
      </a:dk1>
      <a:lt1>
        <a:srgbClr val="0E1011"/>
      </a:lt1>
      <a:dk2>
        <a:srgbClr val="FFFFFE"/>
      </a:dk2>
      <a:lt2>
        <a:srgbClr val="FDFCFB"/>
      </a:lt2>
      <a:accent1>
        <a:srgbClr val="123C63"/>
      </a:accent1>
      <a:accent2>
        <a:srgbClr val="005256"/>
      </a:accent2>
      <a:accent3>
        <a:srgbClr val="9E283F"/>
      </a:accent3>
      <a:accent4>
        <a:srgbClr val="DEB021"/>
      </a:accent4>
      <a:accent5>
        <a:srgbClr val="FFFFFE"/>
      </a:accent5>
      <a:accent6>
        <a:srgbClr val="FDFCFB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8.xml><?xml version="1.0" encoding="utf-8"?>
<a:theme xmlns:a="http://schemas.openxmlformats.org/drawingml/2006/main" name="3_UVA GEN inside 6">
  <a:themeElements>
    <a:clrScheme name="UVA New Brand Colors - USE">
      <a:dk1>
        <a:srgbClr val="E57228"/>
      </a:dk1>
      <a:lt1>
        <a:srgbClr val="0E1011"/>
      </a:lt1>
      <a:dk2>
        <a:srgbClr val="FFFFFE"/>
      </a:dk2>
      <a:lt2>
        <a:srgbClr val="FDFCFB"/>
      </a:lt2>
      <a:accent1>
        <a:srgbClr val="123C63"/>
      </a:accent1>
      <a:accent2>
        <a:srgbClr val="005256"/>
      </a:accent2>
      <a:accent3>
        <a:srgbClr val="9E283F"/>
      </a:accent3>
      <a:accent4>
        <a:srgbClr val="DEB021"/>
      </a:accent4>
      <a:accent5>
        <a:srgbClr val="FFFFFE"/>
      </a:accent5>
      <a:accent6>
        <a:srgbClr val="FDFCFB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9.xml><?xml version="1.0" encoding="utf-8"?>
<a:theme xmlns:a="http://schemas.openxmlformats.org/drawingml/2006/main" name="9_UVA GEN inside 6">
  <a:themeElements>
    <a:clrScheme name="UVA New Brand Colors - USE">
      <a:dk1>
        <a:srgbClr val="E57228"/>
      </a:dk1>
      <a:lt1>
        <a:srgbClr val="0E1011"/>
      </a:lt1>
      <a:dk2>
        <a:srgbClr val="FFFFFE"/>
      </a:dk2>
      <a:lt2>
        <a:srgbClr val="FDFCFB"/>
      </a:lt2>
      <a:accent1>
        <a:srgbClr val="123C63"/>
      </a:accent1>
      <a:accent2>
        <a:srgbClr val="005256"/>
      </a:accent2>
      <a:accent3>
        <a:srgbClr val="9E283F"/>
      </a:accent3>
      <a:accent4>
        <a:srgbClr val="DEB021"/>
      </a:accent4>
      <a:accent5>
        <a:srgbClr val="FFFFFE"/>
      </a:accent5>
      <a:accent6>
        <a:srgbClr val="FDFCFB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Title Slide 2">
  <a:themeElements>
    <a:clrScheme name="Custom 2">
      <a:dk1>
        <a:srgbClr val="E57228"/>
      </a:dk1>
      <a:lt1>
        <a:srgbClr val="262F3E"/>
      </a:lt1>
      <a:dk2>
        <a:srgbClr val="FFFFFE"/>
      </a:dk2>
      <a:lt2>
        <a:srgbClr val="FDFCFB"/>
      </a:lt2>
      <a:accent1>
        <a:srgbClr val="123C63"/>
      </a:accent1>
      <a:accent2>
        <a:srgbClr val="005256"/>
      </a:accent2>
      <a:accent3>
        <a:srgbClr val="9E283F"/>
      </a:accent3>
      <a:accent4>
        <a:srgbClr val="DEB021"/>
      </a:accent4>
      <a:accent5>
        <a:srgbClr val="FFFFFE"/>
      </a:accent5>
      <a:accent6>
        <a:srgbClr val="FDFCFB"/>
      </a:accent6>
      <a:hlink>
        <a:srgbClr val="0000FF"/>
      </a:hlink>
      <a:folHlink>
        <a:srgbClr val="800080"/>
      </a:folHlink>
    </a:clrScheme>
    <a:fontScheme name="Franklin Gothic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0.xml><?xml version="1.0" encoding="utf-8"?>
<a:theme xmlns:a="http://schemas.openxmlformats.org/drawingml/2006/main" name="6_Title Slide 2">
  <a:themeElements>
    <a:clrScheme name="Custom 2">
      <a:dk1>
        <a:srgbClr val="E57228"/>
      </a:dk1>
      <a:lt1>
        <a:srgbClr val="262F3E"/>
      </a:lt1>
      <a:dk2>
        <a:srgbClr val="FFFFFE"/>
      </a:dk2>
      <a:lt2>
        <a:srgbClr val="FDFCFB"/>
      </a:lt2>
      <a:accent1>
        <a:srgbClr val="123C63"/>
      </a:accent1>
      <a:accent2>
        <a:srgbClr val="005256"/>
      </a:accent2>
      <a:accent3>
        <a:srgbClr val="9E283F"/>
      </a:accent3>
      <a:accent4>
        <a:srgbClr val="DEB021"/>
      </a:accent4>
      <a:accent5>
        <a:srgbClr val="FFFFFE"/>
      </a:accent5>
      <a:accent6>
        <a:srgbClr val="FDFCFB"/>
      </a:accent6>
      <a:hlink>
        <a:srgbClr val="0000FF"/>
      </a:hlink>
      <a:folHlink>
        <a:srgbClr val="800080"/>
      </a:folHlink>
    </a:clrScheme>
    <a:fontScheme name="Angles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微软雅黑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ＭＳ Ｐゴシック"/>
        <a:font script="Hang" typeface="맑은 고딕"/>
        <a:font script="Hans" typeface="隶书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1.xml><?xml version="1.0" encoding="utf-8"?>
<a:theme xmlns:a="http://schemas.openxmlformats.org/drawingml/2006/main" name="7_Title Slide 2">
  <a:themeElements>
    <a:clrScheme name="Custom 2">
      <a:dk1>
        <a:srgbClr val="E57228"/>
      </a:dk1>
      <a:lt1>
        <a:srgbClr val="262F3E"/>
      </a:lt1>
      <a:dk2>
        <a:srgbClr val="FFFFFE"/>
      </a:dk2>
      <a:lt2>
        <a:srgbClr val="FDFCFB"/>
      </a:lt2>
      <a:accent1>
        <a:srgbClr val="123C63"/>
      </a:accent1>
      <a:accent2>
        <a:srgbClr val="005256"/>
      </a:accent2>
      <a:accent3>
        <a:srgbClr val="9E283F"/>
      </a:accent3>
      <a:accent4>
        <a:srgbClr val="DEB021"/>
      </a:accent4>
      <a:accent5>
        <a:srgbClr val="FFFFFE"/>
      </a:accent5>
      <a:accent6>
        <a:srgbClr val="FDFCFB"/>
      </a:accent6>
      <a:hlink>
        <a:srgbClr val="0000FF"/>
      </a:hlink>
      <a:folHlink>
        <a:srgbClr val="800080"/>
      </a:folHlink>
    </a:clrScheme>
    <a:fontScheme name="Angles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微软雅黑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ＭＳ Ｐゴシック"/>
        <a:font script="Hang" typeface="맑은 고딕"/>
        <a:font script="Hans" typeface="隶书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2.xml><?xml version="1.0" encoding="utf-8"?>
<a:theme xmlns:a="http://schemas.openxmlformats.org/drawingml/2006/main" name="8_Title Slide 2">
  <a:themeElements>
    <a:clrScheme name="Custom 2">
      <a:dk1>
        <a:srgbClr val="E57228"/>
      </a:dk1>
      <a:lt1>
        <a:srgbClr val="262F3E"/>
      </a:lt1>
      <a:dk2>
        <a:srgbClr val="FFFFFE"/>
      </a:dk2>
      <a:lt2>
        <a:srgbClr val="FDFCFB"/>
      </a:lt2>
      <a:accent1>
        <a:srgbClr val="123C63"/>
      </a:accent1>
      <a:accent2>
        <a:srgbClr val="005256"/>
      </a:accent2>
      <a:accent3>
        <a:srgbClr val="9E283F"/>
      </a:accent3>
      <a:accent4>
        <a:srgbClr val="DEB021"/>
      </a:accent4>
      <a:accent5>
        <a:srgbClr val="FFFFFE"/>
      </a:accent5>
      <a:accent6>
        <a:srgbClr val="FDFCFB"/>
      </a:accent6>
      <a:hlink>
        <a:srgbClr val="0000FF"/>
      </a:hlink>
      <a:folHlink>
        <a:srgbClr val="800080"/>
      </a:folHlink>
    </a:clrScheme>
    <a:fontScheme name="Angles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微软雅黑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ＭＳ Ｐゴシック"/>
        <a:font script="Hang" typeface="맑은 고딕"/>
        <a:font script="Hans" typeface="隶书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3.xml><?xml version="1.0" encoding="utf-8"?>
<a:theme xmlns:a="http://schemas.openxmlformats.org/drawingml/2006/main" name="9_Title Slide 2">
  <a:themeElements>
    <a:clrScheme name="Custom 2">
      <a:dk1>
        <a:srgbClr val="E57228"/>
      </a:dk1>
      <a:lt1>
        <a:srgbClr val="262F3E"/>
      </a:lt1>
      <a:dk2>
        <a:srgbClr val="FFFFFE"/>
      </a:dk2>
      <a:lt2>
        <a:srgbClr val="FDFCFB"/>
      </a:lt2>
      <a:accent1>
        <a:srgbClr val="123C63"/>
      </a:accent1>
      <a:accent2>
        <a:srgbClr val="005256"/>
      </a:accent2>
      <a:accent3>
        <a:srgbClr val="9E283F"/>
      </a:accent3>
      <a:accent4>
        <a:srgbClr val="DEB021"/>
      </a:accent4>
      <a:accent5>
        <a:srgbClr val="FFFFFE"/>
      </a:accent5>
      <a:accent6>
        <a:srgbClr val="FDFCFB"/>
      </a:accent6>
      <a:hlink>
        <a:srgbClr val="0000FF"/>
      </a:hlink>
      <a:folHlink>
        <a:srgbClr val="800080"/>
      </a:folHlink>
    </a:clrScheme>
    <a:fontScheme name="Franklin Gothic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4.xml><?xml version="1.0" encoding="utf-8"?>
<a:theme xmlns:a="http://schemas.openxmlformats.org/drawingml/2006/main" name="10_Title Slide 2">
  <a:themeElements>
    <a:clrScheme name="Custom 2">
      <a:dk1>
        <a:srgbClr val="E57228"/>
      </a:dk1>
      <a:lt1>
        <a:srgbClr val="262F3E"/>
      </a:lt1>
      <a:dk2>
        <a:srgbClr val="FFFFFE"/>
      </a:dk2>
      <a:lt2>
        <a:srgbClr val="FDFCFB"/>
      </a:lt2>
      <a:accent1>
        <a:srgbClr val="123C63"/>
      </a:accent1>
      <a:accent2>
        <a:srgbClr val="005256"/>
      </a:accent2>
      <a:accent3>
        <a:srgbClr val="9E283F"/>
      </a:accent3>
      <a:accent4>
        <a:srgbClr val="DEB021"/>
      </a:accent4>
      <a:accent5>
        <a:srgbClr val="FFFFFE"/>
      </a:accent5>
      <a:accent6>
        <a:srgbClr val="FDFCFB"/>
      </a:accent6>
      <a:hlink>
        <a:srgbClr val="0000FF"/>
      </a:hlink>
      <a:folHlink>
        <a:srgbClr val="800080"/>
      </a:folHlink>
    </a:clrScheme>
    <a:fontScheme name="Angles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微软雅黑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ＭＳ Ｐゴシック"/>
        <a:font script="Hang" typeface="맑은 고딕"/>
        <a:font script="Hans" typeface="隶书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UVA GEN logo and paths top">
  <a:themeElements>
    <a:clrScheme name="Custom 5">
      <a:dk1>
        <a:srgbClr val="E57228"/>
      </a:dk1>
      <a:lt1>
        <a:srgbClr val="262F3E"/>
      </a:lt1>
      <a:dk2>
        <a:srgbClr val="FFFFFE"/>
      </a:dk2>
      <a:lt2>
        <a:srgbClr val="FDFCFB"/>
      </a:lt2>
      <a:accent1>
        <a:srgbClr val="123C63"/>
      </a:accent1>
      <a:accent2>
        <a:srgbClr val="005256"/>
      </a:accent2>
      <a:accent3>
        <a:srgbClr val="9E283F"/>
      </a:accent3>
      <a:accent4>
        <a:srgbClr val="DEB021"/>
      </a:accent4>
      <a:accent5>
        <a:srgbClr val="FFFFFE"/>
      </a:accent5>
      <a:accent6>
        <a:srgbClr val="FDFCFB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1_UVA GEN logo and paths top">
  <a:themeElements>
    <a:clrScheme name="Custom 5">
      <a:dk1>
        <a:srgbClr val="E57228"/>
      </a:dk1>
      <a:lt1>
        <a:srgbClr val="262F3E"/>
      </a:lt1>
      <a:dk2>
        <a:srgbClr val="FFFFFE"/>
      </a:dk2>
      <a:lt2>
        <a:srgbClr val="FDFCFB"/>
      </a:lt2>
      <a:accent1>
        <a:srgbClr val="123C63"/>
      </a:accent1>
      <a:accent2>
        <a:srgbClr val="005256"/>
      </a:accent2>
      <a:accent3>
        <a:srgbClr val="9E283F"/>
      </a:accent3>
      <a:accent4>
        <a:srgbClr val="DEB021"/>
      </a:accent4>
      <a:accent5>
        <a:srgbClr val="FFFFFE"/>
      </a:accent5>
      <a:accent6>
        <a:srgbClr val="FDFCFB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UVA GEN only paths top">
  <a:themeElements>
    <a:clrScheme name="Custom 4">
      <a:dk1>
        <a:srgbClr val="E57228"/>
      </a:dk1>
      <a:lt1>
        <a:srgbClr val="262F3E"/>
      </a:lt1>
      <a:dk2>
        <a:srgbClr val="FFFFFE"/>
      </a:dk2>
      <a:lt2>
        <a:srgbClr val="FDFCFB"/>
      </a:lt2>
      <a:accent1>
        <a:srgbClr val="123C63"/>
      </a:accent1>
      <a:accent2>
        <a:srgbClr val="005256"/>
      </a:accent2>
      <a:accent3>
        <a:srgbClr val="9E283F"/>
      </a:accent3>
      <a:accent4>
        <a:srgbClr val="DEB021"/>
      </a:accent4>
      <a:accent5>
        <a:srgbClr val="FFFFFE"/>
      </a:accent5>
      <a:accent6>
        <a:srgbClr val="FDFCFB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1_UVA GEN only paths top">
  <a:themeElements>
    <a:clrScheme name="Custom 4">
      <a:dk1>
        <a:srgbClr val="E57228"/>
      </a:dk1>
      <a:lt1>
        <a:srgbClr val="262F3E"/>
      </a:lt1>
      <a:dk2>
        <a:srgbClr val="FFFFFE"/>
      </a:dk2>
      <a:lt2>
        <a:srgbClr val="FDFCFB"/>
      </a:lt2>
      <a:accent1>
        <a:srgbClr val="123C63"/>
      </a:accent1>
      <a:accent2>
        <a:srgbClr val="005256"/>
      </a:accent2>
      <a:accent3>
        <a:srgbClr val="9E283F"/>
      </a:accent3>
      <a:accent4>
        <a:srgbClr val="DEB021"/>
      </a:accent4>
      <a:accent5>
        <a:srgbClr val="FFFFFE"/>
      </a:accent5>
      <a:accent6>
        <a:srgbClr val="FDFCFB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White">
  <a:themeElements>
    <a:clrScheme name="Scheme1">
      <a:dk1>
        <a:srgbClr val="262F3E"/>
      </a:dk1>
      <a:lt1>
        <a:srgbClr val="FFFFFF"/>
      </a:lt1>
      <a:dk2>
        <a:srgbClr val="FFFFFF"/>
      </a:dk2>
      <a:lt2>
        <a:srgbClr val="FFFFFF"/>
      </a:lt2>
      <a:accent1>
        <a:srgbClr val="232D4B"/>
      </a:accent1>
      <a:accent2>
        <a:srgbClr val="E57228"/>
      </a:accent2>
      <a:accent3>
        <a:srgbClr val="005256"/>
      </a:accent3>
      <a:accent4>
        <a:srgbClr val="DEB021"/>
      </a:accent4>
      <a:accent5>
        <a:srgbClr val="123C63"/>
      </a:accent5>
      <a:accent6>
        <a:srgbClr val="9E283F"/>
      </a:accent6>
      <a:hlink>
        <a:srgbClr val="0000FF"/>
      </a:hlink>
      <a:folHlink>
        <a:srgbClr val="800080"/>
      </a:folHlink>
    </a:clrScheme>
    <a:fontScheme name="Franklin Gothic">
      <a:majorFont>
        <a:latin typeface="Franklin Gothic Medium" panose="020B0603020102020204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262F3E"/>
        </a:dk1>
        <a:lt1>
          <a:srgbClr val="FFFFFF"/>
        </a:lt1>
        <a:dk2>
          <a:srgbClr val="FFFFFF"/>
        </a:dk2>
        <a:lt2>
          <a:srgbClr val="FFFFFF"/>
        </a:lt2>
        <a:accent1>
          <a:srgbClr val="232D4B"/>
        </a:accent1>
        <a:accent2>
          <a:srgbClr val="E57228"/>
        </a:accent2>
        <a:accent3>
          <a:srgbClr val="005256"/>
        </a:accent3>
        <a:accent4>
          <a:srgbClr val="DEB021"/>
        </a:accent4>
        <a:accent5>
          <a:srgbClr val="123C63"/>
        </a:accent5>
        <a:accent6>
          <a:srgbClr val="9E283F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US1047_OFF.potx" id="{13EE633A-C125-47FD-84C3-171E9A1437BC}" vid="{E050DA21-0320-456B-AC7A-690B72BFC35D}"/>
    </a:ext>
  </a:extLst>
</a:theme>
</file>

<file path=ppt/theme/theme8.xml><?xml version="1.0" encoding="utf-8"?>
<a:theme xmlns:a="http://schemas.openxmlformats.org/drawingml/2006/main" name="2_Title Slide 2">
  <a:themeElements>
    <a:clrScheme name="Custom 2">
      <a:dk1>
        <a:srgbClr val="E57228"/>
      </a:dk1>
      <a:lt1>
        <a:srgbClr val="262F3E"/>
      </a:lt1>
      <a:dk2>
        <a:srgbClr val="FFFFFE"/>
      </a:dk2>
      <a:lt2>
        <a:srgbClr val="FDFCFB"/>
      </a:lt2>
      <a:accent1>
        <a:srgbClr val="123C63"/>
      </a:accent1>
      <a:accent2>
        <a:srgbClr val="005256"/>
      </a:accent2>
      <a:accent3>
        <a:srgbClr val="9E283F"/>
      </a:accent3>
      <a:accent4>
        <a:srgbClr val="DEB021"/>
      </a:accent4>
      <a:accent5>
        <a:srgbClr val="FFFFFE"/>
      </a:accent5>
      <a:accent6>
        <a:srgbClr val="FDFCFB"/>
      </a:accent6>
      <a:hlink>
        <a:srgbClr val="0000FF"/>
      </a:hlink>
      <a:folHlink>
        <a:srgbClr val="800080"/>
      </a:folHlink>
    </a:clrScheme>
    <a:fontScheme name="Angles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微软雅黑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ＭＳ Ｐゴシック"/>
        <a:font script="Hang" typeface="맑은 고딕"/>
        <a:font script="Hans" typeface="隶书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3_Title Slide 2">
  <a:themeElements>
    <a:clrScheme name="Custom 2">
      <a:dk1>
        <a:srgbClr val="E57228"/>
      </a:dk1>
      <a:lt1>
        <a:srgbClr val="262F3E"/>
      </a:lt1>
      <a:dk2>
        <a:srgbClr val="FFFFFE"/>
      </a:dk2>
      <a:lt2>
        <a:srgbClr val="FDFCFB"/>
      </a:lt2>
      <a:accent1>
        <a:srgbClr val="123C63"/>
      </a:accent1>
      <a:accent2>
        <a:srgbClr val="005256"/>
      </a:accent2>
      <a:accent3>
        <a:srgbClr val="9E283F"/>
      </a:accent3>
      <a:accent4>
        <a:srgbClr val="DEB021"/>
      </a:accent4>
      <a:accent5>
        <a:srgbClr val="FFFFFE"/>
      </a:accent5>
      <a:accent6>
        <a:srgbClr val="FDFCFB"/>
      </a:accent6>
      <a:hlink>
        <a:srgbClr val="0000FF"/>
      </a:hlink>
      <a:folHlink>
        <a:srgbClr val="800080"/>
      </a:folHlink>
    </a:clrScheme>
    <a:fontScheme name="Angles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微软雅黑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ＭＳ Ｐゴシック"/>
        <a:font script="Hang" typeface="맑은 고딕"/>
        <a:font script="Hans" typeface="隶书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725</TotalTime>
  <Words>473</Words>
  <Application>Microsoft Office PowerPoint</Application>
  <PresentationFormat>On-screen Show (4:3)</PresentationFormat>
  <Paragraphs>99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2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48" baseType="lpstr">
      <vt:lpstr>Arial</vt:lpstr>
      <vt:lpstr>Calibri</vt:lpstr>
      <vt:lpstr>Franklin Gothic Book</vt:lpstr>
      <vt:lpstr>Franklin Gothic Heavy</vt:lpstr>
      <vt:lpstr>Franklin Gothic Medium</vt:lpstr>
      <vt:lpstr>ITC Franklin Gothic Book</vt:lpstr>
      <vt:lpstr>ITC Franklin Gothic Demi</vt:lpstr>
      <vt:lpstr>ITC Franklin Gothic Heavy</vt:lpstr>
      <vt:lpstr>ITC Franklin Gothic Std Book</vt:lpstr>
      <vt:lpstr>ITC Franklin Gothic Std Med</vt:lpstr>
      <vt:lpstr>Segoe UI</vt:lpstr>
      <vt:lpstr>Wingdings</vt:lpstr>
      <vt:lpstr>Title Slide 2</vt:lpstr>
      <vt:lpstr>1_Title Slide 2</vt:lpstr>
      <vt:lpstr>UVA GEN logo and paths top</vt:lpstr>
      <vt:lpstr>1_UVA GEN logo and paths top</vt:lpstr>
      <vt:lpstr>UVA GEN only paths top</vt:lpstr>
      <vt:lpstr>1_UVA GEN only paths top</vt:lpstr>
      <vt:lpstr>White</vt:lpstr>
      <vt:lpstr>2_Title Slide 2</vt:lpstr>
      <vt:lpstr>3_Title Slide 2</vt:lpstr>
      <vt:lpstr>2_UVA GEN logo and paths top</vt:lpstr>
      <vt:lpstr>1_White</vt:lpstr>
      <vt:lpstr>3_UVA GEN logo and paths top</vt:lpstr>
      <vt:lpstr>2_White</vt:lpstr>
      <vt:lpstr>4_Title Slide 2</vt:lpstr>
      <vt:lpstr>4_UVA GEN logo and paths top</vt:lpstr>
      <vt:lpstr>5_Title Slide 2</vt:lpstr>
      <vt:lpstr>4_UVA GEN inside 6</vt:lpstr>
      <vt:lpstr>3_UVA GEN inside 6</vt:lpstr>
      <vt:lpstr>9_UVA GEN inside 6</vt:lpstr>
      <vt:lpstr>6_Title Slide 2</vt:lpstr>
      <vt:lpstr>7_Title Slide 2</vt:lpstr>
      <vt:lpstr>8_Title Slide 2</vt:lpstr>
      <vt:lpstr>9_Title Slide 2</vt:lpstr>
      <vt:lpstr>10_Title Slide 2</vt:lpstr>
      <vt:lpstr>think-cell Slide</vt:lpstr>
      <vt:lpstr>PowerPoint Presentation</vt:lpstr>
      <vt:lpstr>ENFitTM Updates</vt:lpstr>
      <vt:lpstr>ENFitTM Updates</vt:lpstr>
      <vt:lpstr>ENFitTM Updates</vt:lpstr>
      <vt:lpstr>ENFitTM Updates</vt:lpstr>
      <vt:lpstr>ENFitTM Updates</vt:lpstr>
      <vt:lpstr>ENFitTM Updates</vt:lpstr>
      <vt:lpstr>ENFitTM Updates</vt:lpstr>
      <vt:lpstr>ENFitTM Updates</vt:lpstr>
      <vt:lpstr>ENFitTM Updates</vt:lpstr>
      <vt:lpstr>ENFitTM Updates</vt:lpstr>
    </vt:vector>
  </TitlesOfParts>
  <Company>Circle120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erese Vincent</dc:creator>
  <cp:lastModifiedBy>Hamilton, Brea *HS</cp:lastModifiedBy>
  <cp:revision>323</cp:revision>
  <cp:lastPrinted>2018-04-26T18:58:04Z</cp:lastPrinted>
  <dcterms:created xsi:type="dcterms:W3CDTF">2017-10-18T15:58:36Z</dcterms:created>
  <dcterms:modified xsi:type="dcterms:W3CDTF">2023-08-31T19:43:29Z</dcterms:modified>
</cp:coreProperties>
</file>